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93" r:id="rId1"/>
    <p:sldMasterId id="2147484071" r:id="rId2"/>
    <p:sldMasterId id="2147484088" r:id="rId3"/>
    <p:sldMasterId id="2147484101" r:id="rId4"/>
  </p:sldMasterIdLst>
  <p:notesMasterIdLst>
    <p:notesMasterId r:id="rId14"/>
  </p:notesMasterIdLst>
  <p:handoutMasterIdLst>
    <p:handoutMasterId r:id="rId15"/>
  </p:handoutMasterIdLst>
  <p:sldIdLst>
    <p:sldId id="902" r:id="rId5"/>
    <p:sldId id="2145706419" r:id="rId6"/>
    <p:sldId id="2145706412" r:id="rId7"/>
    <p:sldId id="2145706414" r:id="rId8"/>
    <p:sldId id="2145706415" r:id="rId9"/>
    <p:sldId id="2145706416" r:id="rId10"/>
    <p:sldId id="2145706418" r:id="rId11"/>
    <p:sldId id="2145706312" r:id="rId12"/>
    <p:sldId id="2145706420" r:id="rId13"/>
  </p:sldIdLst>
  <p:sldSz cx="13439775" cy="7559675"/>
  <p:notesSz cx="6797675" cy="9928225"/>
  <p:defaultTextStyle>
    <a:defPPr>
      <a:defRPr lang="en-US"/>
    </a:defPPr>
    <a:lvl1pPr marL="0" algn="l" defTabSz="10423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182" algn="l" defTabSz="10423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366" algn="l" defTabSz="10423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3545" algn="l" defTabSz="10423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4725" algn="l" defTabSz="10423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5907" algn="l" defTabSz="10423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7090" algn="l" defTabSz="10423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8270" algn="l" defTabSz="10423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69452" algn="l" defTabSz="10423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DF73C57E-A3F9-4DEC-B19B-EED4E312C848}">
          <p14:sldIdLst>
            <p14:sldId id="902"/>
            <p14:sldId id="2145706419"/>
            <p14:sldId id="2145706412"/>
            <p14:sldId id="2145706414"/>
            <p14:sldId id="2145706415"/>
            <p14:sldId id="2145706416"/>
            <p14:sldId id="2145706418"/>
            <p14:sldId id="2145706312"/>
            <p14:sldId id="2145706420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4399" userDrawn="1">
          <p15:clr>
            <a:srgbClr val="A4A3A4"/>
          </p15:clr>
        </p15:guide>
        <p15:guide id="7" orient="horz" pos="4536" userDrawn="1">
          <p15:clr>
            <a:srgbClr val="A4A3A4"/>
          </p15:clr>
        </p15:guide>
        <p15:guide id="8" pos="2865" userDrawn="1">
          <p15:clr>
            <a:srgbClr val="A4A3A4"/>
          </p15:clr>
        </p15:guide>
        <p15:guide id="11" pos="8000" userDrawn="1">
          <p15:clr>
            <a:srgbClr val="A4A3A4"/>
          </p15:clr>
        </p15:guide>
        <p15:guide id="12" pos="470" userDrawn="1">
          <p15:clr>
            <a:srgbClr val="A4A3A4"/>
          </p15:clr>
        </p15:guide>
        <p15:guide id="13" orient="horz" pos="249" userDrawn="1">
          <p15:clr>
            <a:srgbClr val="A4A3A4"/>
          </p15:clr>
        </p15:guide>
        <p15:guide id="14" orient="horz" pos="3742" userDrawn="1">
          <p15:clr>
            <a:srgbClr val="A4A3A4"/>
          </p15:clr>
        </p15:guide>
        <p15:guide id="15" orient="horz" pos="976" userDrawn="1">
          <p15:clr>
            <a:srgbClr val="A4A3A4"/>
          </p15:clr>
        </p15:guide>
        <p15:guide id="16" pos="8167" userDrawn="1">
          <p15:clr>
            <a:srgbClr val="A4A3A4"/>
          </p15:clr>
        </p15:guide>
        <p15:guide id="17" orient="horz" pos="248">
          <p15:clr>
            <a:srgbClr val="A4A3A4"/>
          </p15:clr>
        </p15:guide>
        <p15:guide id="18" pos="81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5" userDrawn="1">
          <p15:clr>
            <a:srgbClr val="A4A3A4"/>
          </p15:clr>
        </p15:guide>
        <p15:guide id="2" pos="2303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F6F1"/>
    <a:srgbClr val="000000"/>
    <a:srgbClr val="0160B7"/>
    <a:srgbClr val="194B75"/>
    <a:srgbClr val="9DC3E6"/>
    <a:srgbClr val="F2F2F2"/>
    <a:srgbClr val="0C6CBD"/>
    <a:srgbClr val="0070C0"/>
    <a:srgbClr val="00B0F0"/>
    <a:srgbClr val="0F6E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9EDEC2-2965-4CB3-8BBC-36EA42091EF9}" v="167" dt="2022-04-03T10:25:41.4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07" autoAdjust="0"/>
    <p:restoredTop sz="94850" autoAdjust="0"/>
  </p:normalViewPr>
  <p:slideViewPr>
    <p:cSldViewPr snapToGrid="0">
      <p:cViewPr varScale="1">
        <p:scale>
          <a:sx n="86" d="100"/>
          <a:sy n="86" d="100"/>
        </p:scale>
        <p:origin x="126" y="474"/>
      </p:cViewPr>
      <p:guideLst>
        <p:guide orient="horz" pos="4399"/>
        <p:guide orient="horz" pos="4536"/>
        <p:guide pos="2865"/>
        <p:guide pos="8000"/>
        <p:guide pos="470"/>
        <p:guide orient="horz" pos="249"/>
        <p:guide orient="horz" pos="3742"/>
        <p:guide orient="horz" pos="976"/>
        <p:guide pos="8167"/>
        <p:guide orient="horz" pos="248"/>
        <p:guide pos="816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5"/>
        <p:guide pos="2303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9.7927938420489802E-3"/>
          <c:y val="1.4207417069661903E-2"/>
          <c:w val="0.99020720615795099"/>
          <c:h val="0.7039713193823695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2!$B$12</c:f>
              <c:strCache>
                <c:ptCount val="1"/>
                <c:pt idx="0">
                  <c:v>Бюджеттің кірістері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461-4ED4-9B76-E82560D2979B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461-4ED4-9B76-E82560D2979B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461-4ED4-9B76-E82560D2979B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461-4ED4-9B76-E82560D2979B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600" dirty="0"/>
                      <a:t>68</a:t>
                    </a:r>
                    <a:r>
                      <a:rPr lang="en-US" sz="1400" dirty="0"/>
                      <a:t>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9461-4ED4-9B76-E82560D2979B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600" dirty="0"/>
                      <a:t>70,3</a:t>
                    </a:r>
                    <a:r>
                      <a:rPr lang="en-US" sz="1400" b="1" i="0" u="none" strike="noStrike" baseline="0" dirty="0">
                        <a:effectLst/>
                      </a:rPr>
                      <a:t>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9461-4ED4-9B76-E82560D2979B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/>
                      <a:t>76,2</a:t>
                    </a:r>
                    <a:r>
                      <a:rPr lang="en-US" sz="1400" b="1" i="0" u="none" strike="noStrike" baseline="0">
                        <a:effectLst/>
                      </a:rPr>
                      <a:t>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9461-4ED4-9B76-E82560D2979B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/>
                      <a:t>76,3</a:t>
                    </a:r>
                    <a:r>
                      <a:rPr lang="en-US" sz="1400" b="1" i="0" u="none" strike="noStrike" baseline="0">
                        <a:effectLst/>
                      </a:rPr>
                      <a:t>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9461-4ED4-9B76-E82560D297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>
                    <a:solidFill>
                      <a:schemeClr val="bg1"/>
                    </a:solidFill>
                    <a:latin typeface="Century Gothic" panose="020B0502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2!$C$11:$F$11</c:f>
              <c:strCache>
                <c:ptCount val="4"/>
                <c:pt idx="0">
                  <c:v>2023 жыл</c:v>
                </c:pt>
                <c:pt idx="1">
                  <c:v>2024 жыл</c:v>
                </c:pt>
                <c:pt idx="2">
                  <c:v>2025 жыл</c:v>
                </c:pt>
                <c:pt idx="3">
                  <c:v>2026 жыл</c:v>
                </c:pt>
              </c:strCache>
            </c:strRef>
          </c:cat>
          <c:val>
            <c:numRef>
              <c:f>Лист2!$C$12:$F$12</c:f>
              <c:numCache>
                <c:formatCode>0.0</c:formatCode>
                <c:ptCount val="4"/>
                <c:pt idx="0">
                  <c:v>67.986106030288099</c:v>
                </c:pt>
                <c:pt idx="1">
                  <c:v>70.251835855884266</c:v>
                </c:pt>
                <c:pt idx="2">
                  <c:v>76.171783598785993</c:v>
                </c:pt>
                <c:pt idx="3">
                  <c:v>76.284153148306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84-43C7-828C-05EA8368C698}"/>
            </c:ext>
          </c:extLst>
        </c:ser>
        <c:ser>
          <c:idx val="1"/>
          <c:order val="1"/>
          <c:tx>
            <c:strRef>
              <c:f>Лист2!$B$13</c:f>
              <c:strCache>
                <c:ptCount val="1"/>
                <c:pt idx="0">
                  <c:v>Ұлттық қордан берілетін трансферттер</c:v>
                </c:pt>
              </c:strCache>
            </c:strRef>
          </c:tx>
          <c:spPr>
            <a:solidFill>
              <a:sysClr val="window" lastClr="FFFFFF">
                <a:lumMod val="65000"/>
              </a:sysClr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rgbClr val="FDF6F1"/>
                        </a:solidFill>
                      </a:rPr>
                      <a:t>17,8</a:t>
                    </a:r>
                    <a:r>
                      <a:rPr lang="en-US" sz="1200" b="1" i="0" u="none" strike="noStrike" baseline="0" dirty="0">
                        <a:solidFill>
                          <a:srgbClr val="FDF6F1"/>
                        </a:solidFill>
                        <a:effectLst/>
                      </a:rPr>
                      <a:t>%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C157-4D4E-B8BE-829C7779CC7F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rgbClr val="FDF6F1"/>
                        </a:solidFill>
                      </a:rPr>
                      <a:t>15</a:t>
                    </a:r>
                    <a:r>
                      <a:rPr lang="en-US" sz="1200" b="1" i="0" u="none" strike="noStrike" baseline="0" dirty="0">
                        <a:solidFill>
                          <a:srgbClr val="FDF6F1"/>
                        </a:solidFill>
                        <a:effectLst/>
                      </a:rPr>
                      <a:t>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C157-4D4E-B8BE-829C7779CC7F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>
                        <a:solidFill>
                          <a:srgbClr val="FDF6F1"/>
                        </a:solidFill>
                      </a:rPr>
                      <a:t>8,4</a:t>
                    </a:r>
                    <a:r>
                      <a:rPr lang="en-US" sz="1200" b="1" i="0" u="none" strike="noStrike" baseline="0">
                        <a:solidFill>
                          <a:srgbClr val="FDF6F1"/>
                        </a:solidFill>
                        <a:effectLst/>
                      </a:rPr>
                      <a:t>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C157-4D4E-B8BE-829C7779CC7F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>
                        <a:solidFill>
                          <a:srgbClr val="FDF6F1"/>
                        </a:solidFill>
                      </a:rPr>
                      <a:t>7,9</a:t>
                    </a:r>
                    <a:r>
                      <a:rPr lang="en-US" sz="1200" b="1" i="0" u="none" strike="noStrike" baseline="0">
                        <a:solidFill>
                          <a:srgbClr val="FDF6F1"/>
                        </a:solidFill>
                        <a:effectLst/>
                      </a:rPr>
                      <a:t>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C157-4D4E-B8BE-829C7779CC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rgbClr val="FDF6F1"/>
                    </a:solidFill>
                    <a:latin typeface="Century Gothic" panose="020B0502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2!$C$11:$F$11</c:f>
              <c:strCache>
                <c:ptCount val="4"/>
                <c:pt idx="0">
                  <c:v>2023 жыл</c:v>
                </c:pt>
                <c:pt idx="1">
                  <c:v>2024 жыл</c:v>
                </c:pt>
                <c:pt idx="2">
                  <c:v>2025 жыл</c:v>
                </c:pt>
                <c:pt idx="3">
                  <c:v>2026 жыл</c:v>
                </c:pt>
              </c:strCache>
            </c:strRef>
          </c:cat>
          <c:val>
            <c:numRef>
              <c:f>Лист2!$C$13:$F$13</c:f>
              <c:numCache>
                <c:formatCode>0.0</c:formatCode>
                <c:ptCount val="4"/>
                <c:pt idx="0">
                  <c:v>17.76429585834958</c:v>
                </c:pt>
                <c:pt idx="1">
                  <c:v>15.0100738371891</c:v>
                </c:pt>
                <c:pt idx="2">
                  <c:v>8.4008102977528853</c:v>
                </c:pt>
                <c:pt idx="3">
                  <c:v>7.9455560034494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84-43C7-828C-05EA8368C698}"/>
            </c:ext>
          </c:extLst>
        </c:ser>
        <c:ser>
          <c:idx val="2"/>
          <c:order val="2"/>
          <c:tx>
            <c:strRef>
              <c:f>Лист2!$B$14</c:f>
              <c:strCache>
                <c:ptCount val="1"/>
                <c:pt idx="0">
                  <c:v>Тапшылық</c:v>
                </c:pt>
              </c:strCache>
            </c:strRef>
          </c:tx>
          <c:spPr>
            <a:pattFill prst="narHorz">
              <a:fgClr>
                <a:srgbClr val="9DC3E6"/>
              </a:fgClr>
              <a:bgClr>
                <a:sysClr val="window" lastClr="FFFFFF"/>
              </a:bgClr>
            </a:patt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b="0">
                        <a:solidFill>
                          <a:srgbClr val="000000"/>
                        </a:solidFill>
                      </a:rPr>
                      <a:t>14,2</a:t>
                    </a:r>
                    <a:r>
                      <a:rPr lang="en-US" sz="1200" b="0" i="0" u="none" strike="noStrike" baseline="0">
                        <a:solidFill>
                          <a:srgbClr val="000000"/>
                        </a:solidFill>
                        <a:effectLst/>
                      </a:rPr>
                      <a:t>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C157-4D4E-B8BE-829C7779CC7F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b="0">
                        <a:solidFill>
                          <a:srgbClr val="000000"/>
                        </a:solidFill>
                      </a:rPr>
                      <a:t>14,7</a:t>
                    </a:r>
                    <a:r>
                      <a:rPr lang="en-US" sz="1200" b="0" i="0" u="none" strike="noStrike" baseline="0">
                        <a:solidFill>
                          <a:srgbClr val="000000"/>
                        </a:solidFill>
                        <a:effectLst/>
                      </a:rPr>
                      <a:t>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C157-4D4E-B8BE-829C7779CC7F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b="0">
                        <a:solidFill>
                          <a:srgbClr val="000000"/>
                        </a:solidFill>
                      </a:rPr>
                      <a:t>15,4</a:t>
                    </a:r>
                    <a:r>
                      <a:rPr lang="en-US" sz="1200" b="0" i="0" u="none" strike="noStrike" baseline="0">
                        <a:solidFill>
                          <a:srgbClr val="000000"/>
                        </a:solidFill>
                        <a:effectLst/>
                      </a:rPr>
                      <a:t>%</a:t>
                    </a:r>
                    <a:endParaRPr lang="en-US" sz="120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C157-4D4E-B8BE-829C7779CC7F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b="0">
                        <a:solidFill>
                          <a:srgbClr val="000000"/>
                        </a:solidFill>
                      </a:rPr>
                      <a:t>15,8</a:t>
                    </a:r>
                    <a:r>
                      <a:rPr lang="en-US" sz="1200" b="0" i="0" u="none" strike="noStrike" baseline="0">
                        <a:solidFill>
                          <a:srgbClr val="000000"/>
                        </a:solidFill>
                        <a:effectLst/>
                      </a:rPr>
                      <a:t>%</a:t>
                    </a:r>
                    <a:endParaRPr lang="en-US" sz="120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C157-4D4E-B8BE-829C7779CC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2!$C$11:$F$11</c:f>
              <c:strCache>
                <c:ptCount val="4"/>
                <c:pt idx="0">
                  <c:v>2023 жыл</c:v>
                </c:pt>
                <c:pt idx="1">
                  <c:v>2024 жыл</c:v>
                </c:pt>
                <c:pt idx="2">
                  <c:v>2025 жыл</c:v>
                </c:pt>
                <c:pt idx="3">
                  <c:v>2026 жыл</c:v>
                </c:pt>
              </c:strCache>
            </c:strRef>
          </c:cat>
          <c:val>
            <c:numRef>
              <c:f>Лист2!$C$14:$F$14</c:f>
              <c:numCache>
                <c:formatCode>0.0</c:formatCode>
                <c:ptCount val="4"/>
                <c:pt idx="0">
                  <c:v>14.249598111362308</c:v>
                </c:pt>
                <c:pt idx="1">
                  <c:v>14.738090306926599</c:v>
                </c:pt>
                <c:pt idx="2">
                  <c:v>15.427406103461113</c:v>
                </c:pt>
                <c:pt idx="3">
                  <c:v>15.7702908482440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584-43C7-828C-05EA8368C6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0198912"/>
        <c:axId val="129963136"/>
      </c:barChart>
      <c:catAx>
        <c:axId val="1301989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29963136"/>
        <c:crosses val="autoZero"/>
        <c:auto val="1"/>
        <c:lblAlgn val="ctr"/>
        <c:lblOffset val="100"/>
        <c:noMultiLvlLbl val="0"/>
      </c:catAx>
      <c:valAx>
        <c:axId val="129963136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130198912"/>
        <c:crosses val="autoZero"/>
        <c:crossBetween val="between"/>
        <c:majorUnit val="1"/>
      </c:valAx>
    </c:plotArea>
    <c:legend>
      <c:legendPos val="b"/>
      <c:legendEntry>
        <c:idx val="0"/>
        <c:txPr>
          <a:bodyPr/>
          <a:lstStyle/>
          <a:p>
            <a:pPr>
              <a:defRPr sz="1600" b="0" i="0" baseline="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600" b="0" i="0" baseline="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7.5255772142907129E-2"/>
          <c:y val="0.79427939076852716"/>
          <c:w val="0.86215442956709221"/>
          <c:h val="0.18142904930527839"/>
        </c:manualLayout>
      </c:layout>
      <c:overlay val="0"/>
      <c:txPr>
        <a:bodyPr/>
        <a:lstStyle/>
        <a:p>
          <a:pPr>
            <a:defRPr sz="1600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Ішкі борыш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1"/>
            <c:marker>
              <c:symbol val="circ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4FC6-4679-AF38-06D3C5085637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4FC6-4679-AF38-06D3C5085637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fld id="{3EED8FCA-9948-4552-8268-EF4AA25816D9}" type="VALUE">
                      <a:rPr lang="en-US" smtClean="0"/>
                      <a:pPr/>
                      <a:t>[ЗНАЧЕНИЕ]</a:t>
                    </a:fld>
                    <a:r>
                      <a:rPr lang="en-US"/>
                      <a:t>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4FC6-4679-AF38-06D3C5085637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A160413A-D6CB-42D9-AFA5-5121560ED6C9}" type="VALUE">
                      <a:rPr lang="en-US" smtClean="0"/>
                      <a:pPr/>
                      <a:t>[ЗНАЧЕНИЕ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4FC6-4679-AF38-06D3C5085637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7E1AAF12-9546-4F19-B18F-D89E8C715B14}" type="VALUE">
                      <a:rPr lang="en-US" smtClean="0"/>
                      <a:pPr/>
                      <a:t>[ЗНАЧЕНИЕ]</a:t>
                    </a:fld>
                    <a:r>
                      <a:rPr lang="en-US"/>
                      <a:t>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4FC6-4679-AF38-06D3C5085637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70C0"/>
                    </a:solidFill>
                    <a:latin typeface="Century Gothic" panose="020B0502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2024 жыл</c:v>
                </c:pt>
                <c:pt idx="1">
                  <c:v>2025 жыл</c:v>
                </c:pt>
                <c:pt idx="2">
                  <c:v>2026 жыл</c:v>
                </c:pt>
              </c:strCache>
            </c:strRef>
          </c:cat>
          <c:val>
            <c:numRef>
              <c:f>Лист1!$B$2:$B$4</c:f>
              <c:numCache>
                <c:formatCode>0.0</c:formatCode>
                <c:ptCount val="3"/>
                <c:pt idx="0">
                  <c:v>14.526171239634165</c:v>
                </c:pt>
                <c:pt idx="1">
                  <c:v>16.208655672660289</c:v>
                </c:pt>
                <c:pt idx="2">
                  <c:v>17.1680645781814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4FC6-4679-AF38-06D3C508563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ыртқы борыш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fld id="{C55E0D28-111B-487B-90A1-BFD8536C9006}" type="VALUE">
                      <a:rPr lang="en-US" smtClean="0"/>
                      <a:pPr/>
                      <a:t>[ЗНАЧЕНИЕ]</a:t>
                    </a:fld>
                    <a:r>
                      <a:rPr lang="en-US"/>
                      <a:t>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4FC6-4679-AF38-06D3C5085637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/>
                      <a:t>5%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4FC6-4679-AF38-06D3C5085637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2EBD4E67-8FAD-43D8-85FF-0EF21A85DF2E}" type="VALUE">
                      <a:rPr lang="en-US" smtClean="0"/>
                      <a:pPr/>
                      <a:t>[ЗНАЧЕНИЕ]</a:t>
                    </a:fld>
                    <a:r>
                      <a:rPr lang="en-US"/>
                      <a:t>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4FC6-4679-AF38-06D3C508563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accent6">
                        <a:lumMod val="7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2024 жыл</c:v>
                </c:pt>
                <c:pt idx="1">
                  <c:v>2025 жыл</c:v>
                </c:pt>
                <c:pt idx="2">
                  <c:v>2026 жыл</c:v>
                </c:pt>
              </c:strCache>
            </c:strRef>
          </c:cat>
          <c:val>
            <c:numRef>
              <c:f>Лист1!$C$2:$C$4</c:f>
              <c:numCache>
                <c:formatCode>0.0</c:formatCode>
                <c:ptCount val="3"/>
                <c:pt idx="0">
                  <c:v>6.7636811277320046</c:v>
                </c:pt>
                <c:pt idx="1">
                  <c:v>4.9737020771079017</c:v>
                </c:pt>
                <c:pt idx="2">
                  <c:v>3.91417155491486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4FC6-4679-AF38-06D3C50856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0423520"/>
        <c:axId val="830425696"/>
      </c:lineChart>
      <c:catAx>
        <c:axId val="83042352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830425696"/>
        <c:crosses val="autoZero"/>
        <c:auto val="0"/>
        <c:lblAlgn val="ctr"/>
        <c:lblOffset val="100"/>
        <c:noMultiLvlLbl val="0"/>
      </c:catAx>
      <c:valAx>
        <c:axId val="830425696"/>
        <c:scaling>
          <c:orientation val="minMax"/>
          <c:min val="0"/>
        </c:scaling>
        <c:delete val="1"/>
        <c:axPos val="l"/>
        <c:numFmt formatCode="0.0" sourceLinked="1"/>
        <c:majorTickMark val="out"/>
        <c:minorTickMark val="none"/>
        <c:tickLblPos val="nextTo"/>
        <c:crossAx val="830423520"/>
        <c:crossesAt val="1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0.16419990309559823"/>
          <c:y val="0.86746031706809612"/>
          <c:w val="0.65079890862799206"/>
          <c:h val="0.126263357577081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1"/>
            <c:marker>
              <c:symbol val="circ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6162-4A68-B02E-4E40ABB7AB16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6162-4A68-B02E-4E40ABB7AB16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fld id="{EDEB9DB8-9E77-4023-B518-E5861CBDFD1D}" type="VALUE">
                      <a:rPr lang="en-US" smtClean="0"/>
                      <a:pPr/>
                      <a:t>[ЗНАЧЕНИЕ]</a:t>
                    </a:fld>
                    <a:r>
                      <a:rPr lang="en-US"/>
                      <a:t>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6162-4A68-B02E-4E40ABB7AB16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A160413A-D6CB-42D9-AFA5-5121560ED6C9}" type="VALUE">
                      <a:rPr lang="en-US" smtClean="0"/>
                      <a:pPr/>
                      <a:t>[ЗНАЧЕНИЕ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162-4A68-B02E-4E40ABB7AB16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2E8CB84A-94C5-4817-9921-13A14306F5EA}" type="VALUE">
                      <a:rPr lang="en-US" smtClean="0"/>
                      <a:pPr/>
                      <a:t>[ЗНАЧЕНИЕ]</a:t>
                    </a:fld>
                    <a:r>
                      <a:rPr lang="en-US"/>
                      <a:t>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162-4A68-B02E-4E40ABB7AB16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rgbClr val="0070C0"/>
                    </a:solidFill>
                    <a:latin typeface="Century Gothic" panose="020B0502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2024 жыл</c:v>
                </c:pt>
                <c:pt idx="1">
                  <c:v>2025 жыл</c:v>
                </c:pt>
                <c:pt idx="2">
                  <c:v>2026 жыл</c:v>
                </c:pt>
              </c:strCache>
            </c:strRef>
          </c:cat>
          <c:val>
            <c:numRef>
              <c:f>Лист1!$B$2:$B$4</c:f>
              <c:numCache>
                <c:formatCode>0.0</c:formatCode>
                <c:ptCount val="3"/>
                <c:pt idx="0">
                  <c:v>2.6</c:v>
                </c:pt>
                <c:pt idx="1">
                  <c:v>2.4</c:v>
                </c:pt>
                <c:pt idx="2">
                  <c:v>2.29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162-4A68-B02E-4E40ABB7AB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0423520"/>
        <c:axId val="830425696"/>
      </c:lineChart>
      <c:catAx>
        <c:axId val="83042352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830425696"/>
        <c:crosses val="autoZero"/>
        <c:auto val="0"/>
        <c:lblAlgn val="ctr"/>
        <c:lblOffset val="100"/>
        <c:noMultiLvlLbl val="0"/>
      </c:catAx>
      <c:valAx>
        <c:axId val="830425696"/>
        <c:scaling>
          <c:orientation val="minMax"/>
          <c:min val="2"/>
        </c:scaling>
        <c:delete val="1"/>
        <c:axPos val="l"/>
        <c:numFmt formatCode="0.0" sourceLinked="1"/>
        <c:majorTickMark val="out"/>
        <c:minorTickMark val="none"/>
        <c:tickLblPos val="nextTo"/>
        <c:crossAx val="830423520"/>
        <c:crossesAt val="1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6400" cy="498475"/>
          </a:xfrm>
          <a:prstGeom prst="rect">
            <a:avLst/>
          </a:prstGeom>
        </p:spPr>
        <p:txBody>
          <a:bodyPr vert="horz" lIns="91418" tIns="45710" rIns="91418" bIns="4571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90" y="2"/>
            <a:ext cx="2946400" cy="498475"/>
          </a:xfrm>
          <a:prstGeom prst="rect">
            <a:avLst/>
          </a:prstGeom>
        </p:spPr>
        <p:txBody>
          <a:bodyPr vert="horz" lIns="91418" tIns="45710" rIns="91418" bIns="45710" rtlCol="0"/>
          <a:lstStyle>
            <a:lvl1pPr algn="r">
              <a:defRPr sz="1200"/>
            </a:lvl1pPr>
          </a:lstStyle>
          <a:p>
            <a:fld id="{AF2057B1-C911-476B-98E3-76942191F4DD}" type="datetimeFigureOut">
              <a:rPr lang="ru-RU" smtClean="0"/>
              <a:t>08.09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2"/>
            <a:ext cx="2946400" cy="498475"/>
          </a:xfrm>
          <a:prstGeom prst="rect">
            <a:avLst/>
          </a:prstGeom>
        </p:spPr>
        <p:txBody>
          <a:bodyPr vert="horz" lIns="91418" tIns="45710" rIns="91418" bIns="4571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90" y="9429752"/>
            <a:ext cx="2946400" cy="498475"/>
          </a:xfrm>
          <a:prstGeom prst="rect">
            <a:avLst/>
          </a:prstGeom>
        </p:spPr>
        <p:txBody>
          <a:bodyPr vert="horz" lIns="91418" tIns="45710" rIns="91418" bIns="45710" rtlCol="0" anchor="b"/>
          <a:lstStyle>
            <a:lvl1pPr algn="r">
              <a:defRPr sz="1200"/>
            </a:lvl1pPr>
          </a:lstStyle>
          <a:p>
            <a:fld id="{CDFE8AF0-8637-4FF6-B646-CBA227A4B3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119997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5"/>
            <a:ext cx="2945955" cy="497396"/>
          </a:xfrm>
          <a:prstGeom prst="rect">
            <a:avLst/>
          </a:prstGeom>
        </p:spPr>
        <p:txBody>
          <a:bodyPr vert="horz" lIns="91380" tIns="45690" rIns="91380" bIns="4569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249" y="5"/>
            <a:ext cx="2945955" cy="497396"/>
          </a:xfrm>
          <a:prstGeom prst="rect">
            <a:avLst/>
          </a:prstGeom>
        </p:spPr>
        <p:txBody>
          <a:bodyPr vert="horz" lIns="91380" tIns="45690" rIns="91380" bIns="45690" rtlCol="0"/>
          <a:lstStyle>
            <a:lvl1pPr algn="r">
              <a:defRPr sz="1200"/>
            </a:lvl1pPr>
          </a:lstStyle>
          <a:p>
            <a:fld id="{3A598F14-C272-4EB6-850A-74D1B668A257}" type="datetimeFigureOut">
              <a:rPr lang="en-GB" smtClean="0"/>
              <a:t>08/09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80" tIns="45690" rIns="91380" bIns="4569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063" y="4778622"/>
            <a:ext cx="5437550" cy="3908581"/>
          </a:xfrm>
          <a:prstGeom prst="rect">
            <a:avLst/>
          </a:prstGeom>
        </p:spPr>
        <p:txBody>
          <a:bodyPr vert="horz" lIns="91380" tIns="45690" rIns="91380" bIns="4569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" y="9430835"/>
            <a:ext cx="2945955" cy="497395"/>
          </a:xfrm>
          <a:prstGeom prst="rect">
            <a:avLst/>
          </a:prstGeom>
        </p:spPr>
        <p:txBody>
          <a:bodyPr vert="horz" lIns="91380" tIns="45690" rIns="91380" bIns="4569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249" y="9430835"/>
            <a:ext cx="2945955" cy="497395"/>
          </a:xfrm>
          <a:prstGeom prst="rect">
            <a:avLst/>
          </a:prstGeom>
        </p:spPr>
        <p:txBody>
          <a:bodyPr vert="horz" lIns="91380" tIns="45690" rIns="91380" bIns="45690" rtlCol="0" anchor="b"/>
          <a:lstStyle>
            <a:lvl1pPr algn="r">
              <a:defRPr sz="1200"/>
            </a:lvl1pPr>
          </a:lstStyle>
          <a:p>
            <a:fld id="{143FDE73-F3CE-4DBD-9776-DD9A43D18D2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810654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975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951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929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906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881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859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834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810" algn="l" defTabSz="9139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194" name="Slide Image Placeholder 1">
            <a:extLst>
              <a:ext uri="{FF2B5EF4-FFF2-40B4-BE49-F238E27FC236}">
                <a16:creationId xmlns:a16="http://schemas.microsoft.com/office/drawing/2014/main" id="{599A348A-4250-4752-8FC6-D12EE8C2856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4195" name="Notes Placeholder 2">
            <a:extLst>
              <a:ext uri="{FF2B5EF4-FFF2-40B4-BE49-F238E27FC236}">
                <a16:creationId xmlns:a16="http://schemas.microsoft.com/office/drawing/2014/main" id="{B7BB8CCB-159E-4B17-B847-D8381E073F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ru-RU" dirty="0"/>
              <a:t>Insert picture/ Right Click/Send to back</a:t>
            </a:r>
          </a:p>
          <a:p>
            <a:pPr eaLnBrk="1" hangingPunct="1">
              <a:spcBef>
                <a:spcPct val="0"/>
              </a:spcBef>
            </a:pPr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765131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37107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2489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Прямая соединительная линия 5"/>
          <p:cNvCxnSpPr/>
          <p:nvPr userDrawn="1"/>
        </p:nvCxnSpPr>
        <p:spPr>
          <a:xfrm>
            <a:off x="57150" y="960120"/>
            <a:ext cx="13320000" cy="0"/>
          </a:xfrm>
          <a:prstGeom prst="line">
            <a:avLst/>
          </a:prstGeom>
          <a:ln w="19050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"/>
          <p:cNvSpPr txBox="1">
            <a:spLocks/>
          </p:cNvSpPr>
          <p:nvPr userDrawn="1"/>
        </p:nvSpPr>
        <p:spPr bwMode="auto">
          <a:xfrm>
            <a:off x="13190005" y="7331456"/>
            <a:ext cx="171522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6353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l" defTabSz="6353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5593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799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3382504"/>
            <a:ext cx="13439775" cy="725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015807" eaLnBrk="1" hangingPunct="1">
              <a:defRPr/>
            </a:pPr>
            <a:r>
              <a:rPr lang="kk-KZ" sz="4115" b="1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4115" b="1" cap="smal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0" y="4570804"/>
            <a:ext cx="13439775" cy="9333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0" y="2963206"/>
            <a:ext cx="13439775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7831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3365484"/>
            <a:ext cx="13439775" cy="816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160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4703" b="1" cap="small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</a:t>
            </a:r>
            <a:r>
              <a:rPr lang="kk-KZ" sz="4703" b="1" cap="small" baseline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4703" b="1" cap="small" baseline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94228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3365484"/>
            <a:ext cx="13439775" cy="816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160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4703" b="1" cap="small" baseline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</a:t>
            </a:r>
            <a:r>
              <a:rPr lang="kk-KZ" sz="4703" b="1" cap="small" baseline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4703" b="1" cap="small" baseline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9838920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679972" y="1237197"/>
            <a:ext cx="10079831" cy="2631887"/>
          </a:xfrm>
          <a:prstGeom prst="rect">
            <a:avLst/>
          </a:prstGeo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79972" y="3970579"/>
            <a:ext cx="10079831" cy="18251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94" indent="0" algn="ctr">
              <a:buNone/>
              <a:defRPr sz="2205"/>
            </a:lvl2pPr>
            <a:lvl3pPr marL="1007989" indent="0" algn="ctr">
              <a:buNone/>
              <a:defRPr sz="1984"/>
            </a:lvl3pPr>
            <a:lvl4pPr marL="1511983" indent="0" algn="ctr">
              <a:buNone/>
              <a:defRPr sz="1764"/>
            </a:lvl4pPr>
            <a:lvl5pPr marL="2015978" indent="0" algn="ctr">
              <a:buNone/>
              <a:defRPr sz="1764"/>
            </a:lvl5pPr>
            <a:lvl6pPr marL="2519972" indent="0" algn="ctr">
              <a:buNone/>
              <a:defRPr sz="1764"/>
            </a:lvl6pPr>
            <a:lvl7pPr marL="3023967" indent="0" algn="ctr">
              <a:buNone/>
              <a:defRPr sz="1764"/>
            </a:lvl7pPr>
            <a:lvl8pPr marL="3527961" indent="0" algn="ctr">
              <a:buNone/>
              <a:defRPr sz="1764"/>
            </a:lvl8pPr>
            <a:lvl9pPr marL="4031955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923985" y="7006700"/>
            <a:ext cx="3023949" cy="402483"/>
          </a:xfrm>
          <a:prstGeom prst="rect">
            <a:avLst/>
          </a:prstGeom>
        </p:spPr>
        <p:txBody>
          <a:bodyPr/>
          <a:lstStyle/>
          <a:p>
            <a:fld id="{535E3D68-43FE-4112-9448-49A47E65ECEF}" type="datetime8">
              <a:rPr lang="ru-RU" smtClean="0"/>
              <a:t>08.09.2023 15:3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451926" y="7006700"/>
            <a:ext cx="4535924" cy="402483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491841" y="7006700"/>
            <a:ext cx="3023949" cy="402483"/>
          </a:xfrm>
          <a:prstGeom prst="rect">
            <a:avLst/>
          </a:prstGeom>
        </p:spPr>
        <p:txBody>
          <a:bodyPr/>
          <a:lstStyle/>
          <a:p>
            <a:fld id="{99E72439-4BCB-4AC5-8EF3-AC0E70F1BA2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45321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3439775" cy="4017427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543"/>
            </a:lvl1pPr>
          </a:lstStyle>
          <a:p>
            <a:pPr lvl="0"/>
            <a:endParaRPr lang="en-US" noProof="0" dirty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23985" y="7006700"/>
            <a:ext cx="3023949" cy="40364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AA39F5-201E-45DC-9A3A-9D1E7C275419}" type="datetime8">
              <a:rPr lang="ru-RU" smtClean="0"/>
              <a:t>08.09.2023 15:38</a:t>
            </a:fld>
            <a:endParaRPr lang="en-US" dirty="0"/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51926" y="7006700"/>
            <a:ext cx="4535924" cy="40364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92941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869976" y="908459"/>
            <a:ext cx="1164075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12893324" y="7103696"/>
            <a:ext cx="543379" cy="4412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4965" eaLnBrk="1" hangingPunct="1">
              <a:defRPr/>
            </a:pPr>
            <a:fld id="{CF64C8AB-A359-4283-8B1E-EBE022F7DEE2}" type="slidenum">
              <a:rPr lang="ru-RU" altLang="ru-RU" sz="147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1014965" eaLnBrk="1" hangingPunct="1">
                <a:defRPr/>
              </a:pPr>
              <a:t>‹#›</a:t>
            </a:fld>
            <a:endParaRPr lang="ru-RU" altLang="ru-RU" sz="1176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753872" y="324320"/>
            <a:ext cx="11150813" cy="4573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4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1010323" indent="0">
              <a:buNone/>
              <a:defRPr/>
            </a:lvl3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79424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869976" y="908459"/>
            <a:ext cx="1164075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12893324" y="7103696"/>
            <a:ext cx="543379" cy="4412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4965" eaLnBrk="1" hangingPunct="1">
              <a:defRPr/>
            </a:pPr>
            <a:fld id="{CF64C8AB-A359-4283-8B1E-EBE022F7DEE2}" type="slidenum">
              <a:rPr lang="ru-RU" altLang="ru-RU" sz="147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1014965" eaLnBrk="1" hangingPunct="1">
                <a:defRPr/>
              </a:pPr>
              <a:t>‹#›</a:t>
            </a:fld>
            <a:endParaRPr lang="ru-RU" altLang="ru-RU" sz="1176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753872" y="324320"/>
            <a:ext cx="11150813" cy="4573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4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1010323" indent="0">
              <a:buNone/>
              <a:defRPr/>
            </a:lvl3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564425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869976" y="908459"/>
            <a:ext cx="1164075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12893324" y="7103696"/>
            <a:ext cx="543379" cy="4412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4965" eaLnBrk="1" hangingPunct="1">
              <a:defRPr/>
            </a:pPr>
            <a:fld id="{CF64C8AB-A359-4283-8B1E-EBE022F7DEE2}" type="slidenum">
              <a:rPr lang="ru-RU" altLang="ru-RU" sz="147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1014965" eaLnBrk="1" hangingPunct="1">
                <a:defRPr/>
              </a:pPr>
              <a:t>‹#›</a:t>
            </a:fld>
            <a:endParaRPr lang="ru-RU" altLang="ru-RU" sz="1176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753872" y="324320"/>
            <a:ext cx="11150813" cy="4573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4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1010323" indent="0">
              <a:buNone/>
              <a:defRPr/>
            </a:lvl3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998557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5807">
              <a:defRPr/>
            </a:pPr>
            <a:endParaRPr lang="ru-RU" sz="3087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7153691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5807">
              <a:defRPr/>
            </a:pPr>
            <a:endParaRPr lang="ru-RU" sz="3087">
              <a:solidFill>
                <a:prstClr val="white"/>
              </a:solidFill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681322" y="4332815"/>
            <a:ext cx="1427976" cy="2720550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990" y="2685553"/>
            <a:ext cx="1586640" cy="158893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681322" y="464315"/>
            <a:ext cx="1427976" cy="2046245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defTabSz="1015807">
                <a:defRPr/>
              </a:pPr>
              <a:endParaRPr lang="ru-RU" sz="3087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77599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5807">
              <a:defRPr/>
            </a:pPr>
            <a:endParaRPr lang="ru-RU" sz="3087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7153691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5807">
              <a:defRPr/>
            </a:pPr>
            <a:endParaRPr lang="ru-RU" sz="308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4090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17522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923985" y="347653"/>
            <a:ext cx="12515790" cy="650971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94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94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3972" y="347652"/>
            <a:ext cx="907652" cy="95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31356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7321686"/>
            <a:ext cx="13439775" cy="23799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5807">
              <a:defRPr/>
            </a:pPr>
            <a:endParaRPr lang="ru-RU" sz="3087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13028297" y="7321686"/>
            <a:ext cx="480659" cy="2379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A93956F-647A-44B9-8163-DDB447652883}" type="slidenum">
              <a:rPr lang="ru-RU" altLang="ru-RU" sz="1176" b="1" smtClean="0">
                <a:solidFill>
                  <a:prstClr val="white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1176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821298"/>
            <a:ext cx="13439775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70082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7419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821298"/>
            <a:ext cx="13439775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7314686"/>
            <a:ext cx="13439775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12959117" y="7321686"/>
            <a:ext cx="480659" cy="237990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fld id="{F8F6FAAD-B68C-4C14-A12C-64AE1811CFA5}" type="slidenum">
              <a:rPr lang="ru-RU" altLang="ru-RU" sz="1176" b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pPr algn="ctr" eaLnBrk="1" hangingPunct="1">
                <a:defRPr/>
              </a:pPr>
              <a:t>‹#›</a:t>
            </a:fld>
            <a:endParaRPr lang="ru-RU" altLang="ru-RU" sz="1176" b="1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1" y="7352019"/>
            <a:ext cx="3553608" cy="207657"/>
          </a:xfrm>
          <a:prstGeom prst="rect">
            <a:avLst/>
          </a:prstGeom>
        </p:spPr>
        <p:txBody>
          <a:bodyPr/>
          <a:lstStyle>
            <a:lvl1pPr>
              <a:defRPr sz="93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2477D2E-F049-4A41-98F7-194A3846BC2B}" type="datetime1">
              <a:rPr lang="ru-RU" smtClean="0">
                <a:solidFill>
                  <a:prstClr val="white">
                    <a:lumMod val="65000"/>
                  </a:prstClr>
                </a:solidFill>
              </a:rPr>
              <a:pPr>
                <a:defRPr/>
              </a:pPr>
              <a:t>08.09.2023</a:t>
            </a:fld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756605" y="7352019"/>
            <a:ext cx="6939217" cy="207657"/>
          </a:xfrm>
          <a:prstGeom prst="rect">
            <a:avLst/>
          </a:prstGeom>
        </p:spPr>
        <p:txBody>
          <a:bodyPr/>
          <a:lstStyle>
            <a:lvl1pPr>
              <a:defRPr sz="93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845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5807">
              <a:defRPr/>
            </a:pPr>
            <a:endParaRPr lang="ru-RU" sz="3087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7153691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5807">
              <a:defRPr/>
            </a:pPr>
            <a:endParaRPr lang="ru-RU" sz="3087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3508016"/>
            <a:ext cx="13439775" cy="635239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015807" eaLnBrk="1" hangingPunct="1">
              <a:defRPr/>
            </a:pPr>
            <a:r>
              <a:rPr lang="kk-KZ" sz="3528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материалы</a:t>
            </a:r>
            <a:endParaRPr lang="ru-RU" sz="3528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1046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0" y="3382504"/>
            <a:ext cx="13439775" cy="725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015807" eaLnBrk="1" hangingPunct="1">
              <a:defRPr/>
            </a:pPr>
            <a:r>
              <a:rPr lang="kk-KZ" sz="4115" b="1" cap="sm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ложение</a:t>
            </a:r>
            <a:endParaRPr lang="ru-RU" sz="4115" b="1" cap="sm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21427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3365484"/>
            <a:ext cx="13439775" cy="816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160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4703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за внимание!</a:t>
            </a:r>
            <a:endParaRPr lang="ru-RU" sz="4703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00868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3365484"/>
            <a:ext cx="13439775" cy="8160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160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4703" b="1" cap="small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4703" b="1" cap="small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6272274"/>
      </p:ext>
    </p:extLst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679972" y="1237197"/>
            <a:ext cx="10079831" cy="2631887"/>
          </a:xfrm>
          <a:prstGeom prst="rect">
            <a:avLst/>
          </a:prstGeo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79972" y="3970579"/>
            <a:ext cx="10079831" cy="182517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94" indent="0" algn="ctr">
              <a:buNone/>
              <a:defRPr sz="2205"/>
            </a:lvl2pPr>
            <a:lvl3pPr marL="1007989" indent="0" algn="ctr">
              <a:buNone/>
              <a:defRPr sz="1984"/>
            </a:lvl3pPr>
            <a:lvl4pPr marL="1511983" indent="0" algn="ctr">
              <a:buNone/>
              <a:defRPr sz="1764"/>
            </a:lvl4pPr>
            <a:lvl5pPr marL="2015978" indent="0" algn="ctr">
              <a:buNone/>
              <a:defRPr sz="1764"/>
            </a:lvl5pPr>
            <a:lvl6pPr marL="2519972" indent="0" algn="ctr">
              <a:buNone/>
              <a:defRPr sz="1764"/>
            </a:lvl6pPr>
            <a:lvl7pPr marL="3023967" indent="0" algn="ctr">
              <a:buNone/>
              <a:defRPr sz="1764"/>
            </a:lvl7pPr>
            <a:lvl8pPr marL="3527961" indent="0" algn="ctr">
              <a:buNone/>
              <a:defRPr sz="1764"/>
            </a:lvl8pPr>
            <a:lvl9pPr marL="4031955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923985" y="7006700"/>
            <a:ext cx="3023949" cy="40248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B2A65A1-2B96-40B7-BDF6-2CD69FAB66B8}" type="datetime1">
              <a:rPr lang="ru-RU" smtClean="0">
                <a:solidFill>
                  <a:prstClr val="black"/>
                </a:solidFill>
              </a:rPr>
              <a:pPr>
                <a:defRPr/>
              </a:pPr>
              <a:t>08.09.2023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451926" y="7006700"/>
            <a:ext cx="4535924" cy="40248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491841" y="7006700"/>
            <a:ext cx="3023949" cy="40248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9E72439-4BCB-4AC5-8EF3-AC0E70F1BA2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329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13015117" y="7321687"/>
            <a:ext cx="480659" cy="2379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14965" eaLnBrk="1" hangingPunct="1">
              <a:defRPr/>
            </a:pPr>
            <a:fld id="{CF64C8AB-A359-4283-8B1E-EBE022F7DEE2}" type="slidenum">
              <a:rPr lang="ru-RU" altLang="ru-RU" sz="1176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 algn="ctr" defTabSz="1014965" eaLnBrk="1" hangingPunct="1">
                <a:defRPr/>
              </a:pPr>
              <a:t>‹#›</a:t>
            </a:fld>
            <a:endParaRPr lang="ru-RU" altLang="ru-RU" sz="1176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821298"/>
            <a:ext cx="13439775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30740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7153691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" name="Группа 21"/>
          <p:cNvGrpSpPr>
            <a:grpSpLocks/>
          </p:cNvGrpSpPr>
          <p:nvPr userDrawn="1"/>
        </p:nvGrpSpPr>
        <p:grpSpPr bwMode="auto">
          <a:xfrm>
            <a:off x="681322" y="4332815"/>
            <a:ext cx="1427976" cy="2720550"/>
            <a:chOff x="464265" y="2731224"/>
            <a:chExt cx="970344" cy="1850030"/>
          </a:xfrm>
        </p:grpSpPr>
        <p:sp>
          <p:nvSpPr>
            <p:cNvPr id="8" name="Graphic 1"/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Graphic 1"/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Graphic 1"/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Graphic 1"/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2" name="Graphic 1"/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" name="Graphic 1"/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Graphic 1"/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Graphic 1"/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16" name="Picture 744" descr="ÐÐ°ÑÑÐ¸Ð½ÐºÐ¸ Ð¿Ð¾ Ð·Ð°Ð¿ÑÐ¾ÑÑ Ð³ÐµÑÐ± ÐºÐ°Ð·Ð°ÑÑÑÐ°Ð½Ð° png"/>
          <p:cNvPicPr>
            <a:picLocks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990" y="2685553"/>
            <a:ext cx="1586640" cy="158893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29"/>
          <p:cNvGrpSpPr>
            <a:grpSpLocks/>
          </p:cNvGrpSpPr>
          <p:nvPr userDrawn="1"/>
        </p:nvGrpSpPr>
        <p:grpSpPr bwMode="auto">
          <a:xfrm>
            <a:off x="681322" y="464315"/>
            <a:ext cx="1427976" cy="2046245"/>
            <a:chOff x="464265" y="499361"/>
            <a:chExt cx="970344" cy="1391523"/>
          </a:xfrm>
        </p:grpSpPr>
        <p:sp>
          <p:nvSpPr>
            <p:cNvPr id="18" name="Graphic 1"/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Graphic 1"/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" name="Graphic 1"/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" name="Graphic 1"/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" name="Graphic 1"/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" name="Graphic 1"/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marL="0" marR="0" lvl="0" indent="0" algn="l" defTabSz="1015807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64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06131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13D4CE-70B4-EB77-1D44-0ABCBC520A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79972" y="1237197"/>
            <a:ext cx="1007983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57033DD9-1FD1-E9D4-DFA8-DD85EB35FC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79972" y="3970580"/>
            <a:ext cx="10079831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C333A95-39B2-38E4-D7FD-BEB21ADC61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CDE454-2820-4355-977B-31ED5BD325B0}" type="datetimeFigureOut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66AF145-C7A3-2706-0A54-16B3EFE0F7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1F6C9E3-148C-3676-7FAD-F45B50375F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EF8312-D811-498B-863C-C22A58647322}" type="slidenum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81186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8C6F1A2-B1C8-4D23-6586-D63FE3310A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D4F8B59-ACB3-AEA6-A601-D30E03BB9D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0DF24DB-FC99-8373-2BC2-814920F70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CDE454-2820-4355-977B-31ED5BD325B0}" type="datetimeFigureOut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9406B09-5F02-66E2-EA43-715BBC8D0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0C69B96-4B05-7D7B-CB6A-FA48058CB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EF8312-D811-498B-863C-C22A58647322}" type="slidenum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48085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46651CA-6635-A77E-88C2-2F860E96E2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985" y="1884670"/>
            <a:ext cx="11591806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7784D3F-EA6E-CCB6-A9DB-C5254ED6E1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6985" y="5059034"/>
            <a:ext cx="11591806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>
                    <a:tint val="75000"/>
                  </a:schemeClr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B37EED9-2435-8021-D6F4-1127FAADBC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CDE454-2820-4355-977B-31ED5BD325B0}" type="datetimeFigureOut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D4B28BF-9B55-D570-0BB3-9FC7C5AB9B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9CE9FC9-E979-B7AF-64D0-1DEF547D91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EF8312-D811-498B-863C-C22A58647322}" type="slidenum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87071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2D5562-1D5D-E3CC-8B29-5E3D633C67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2DA70FF-948E-387C-AE62-CD9C52572E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23985" y="2012414"/>
            <a:ext cx="5711904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E76ACD6-F310-D181-6CC3-C79F394321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03886" y="2012414"/>
            <a:ext cx="5711904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6888846-BE59-F631-DA04-E071D4C84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CDE454-2820-4355-977B-31ED5BD325B0}" type="datetimeFigureOut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25A7E89-5795-AAEC-D486-013D97DBAB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9908E19-1911-F2A1-EC7D-8FFEB4E878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EF8312-D811-498B-863C-C22A58647322}" type="slidenum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98017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20C5A98-8E09-AED9-4C24-D56D0D46B6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5735" y="402483"/>
            <a:ext cx="11591806" cy="146118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C01EE70-0A01-67FB-BEB4-0D85E1CCB5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5736" y="1853171"/>
            <a:ext cx="5685654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17E2778-45F6-2245-DB4B-F6229FE8CE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25736" y="2761381"/>
            <a:ext cx="5685654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6CD42DC-368F-7058-FB8A-7B35458D129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03886" y="1853171"/>
            <a:ext cx="5713655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DAF0FE2-E0A8-41A3-6978-3607279C048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803886" y="2761381"/>
            <a:ext cx="5713655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B1044380-B63F-B76C-08A0-AA7E72CB43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CDE454-2820-4355-977B-31ED5BD325B0}" type="datetimeFigureOut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FBDD97F0-3269-1AEE-B834-E509DFCE57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A3A4D28-2395-ABCE-5EDE-B102066C5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EF8312-D811-498B-863C-C22A58647322}" type="slidenum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56423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0122EE6-81CD-3CDE-FDAA-775EBCCE40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6B43A63-74D9-F4AF-AFAA-8C85E55F43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CDE454-2820-4355-977B-31ED5BD325B0}" type="datetimeFigureOut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BDC669CA-1CAD-7C39-0914-FDF424AC2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08F8D73-AC2A-14B5-5C19-5FCEECFDFD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EF8312-D811-498B-863C-C22A58647322}" type="slidenum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41063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F72FE5D9-82E2-3C71-7617-FEC85B2F90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CDE454-2820-4355-977B-31ED5BD325B0}" type="datetimeFigureOut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F1B603C-4E10-4679-F139-EB00EAB2DE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2B1CC8A-2B53-EE96-51D4-1C6BE3C5B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EF8312-D811-498B-863C-C22A58647322}" type="slidenum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40956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2CBD957-A903-57AE-7503-45C5123CB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5736" y="503978"/>
            <a:ext cx="4334677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0E44506-DB3D-270B-A1E4-153EE3EE91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3655" y="1088454"/>
            <a:ext cx="6803886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3B300986-84AF-3ACF-F4BC-2D571612E1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25736" y="2267902"/>
            <a:ext cx="4334677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66408A5-2BA4-433D-9D62-D38B3BCED3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CDE454-2820-4355-977B-31ED5BD325B0}" type="datetimeFigureOut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DDCEB41-AABA-49A8-5765-1CC1A95E86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285D001-6F07-34BF-E436-3918ECF2EE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EF8312-D811-498B-863C-C22A58647322}" type="slidenum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52324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846E3C4-713C-C781-D8ED-D1E424602F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5736" y="503978"/>
            <a:ext cx="4334677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6494FFF7-E4EF-011F-ADED-40DFC84AA1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713655" y="1088454"/>
            <a:ext cx="6803886" cy="5372269"/>
          </a:xfrm>
        </p:spPr>
        <p:txBody>
          <a:bodyPr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90F094E-81E1-FECC-614B-EB422888CC0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25736" y="2267902"/>
            <a:ext cx="4334677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767F8FF-F135-13F2-1B1A-AC8E468959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CDE454-2820-4355-977B-31ED5BD325B0}" type="datetimeFigureOut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883C332-6ABB-BB8B-E7D1-BD6659F73E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D026EEA-83C2-402B-D967-554D6FEFC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EF8312-D811-498B-863C-C22A58647322}" type="slidenum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4079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2BEB6EF-F9D7-F744-7CB4-7CDD66AD32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A7EB4C9-56FC-264A-9C27-0B79BFF5FE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BB57C8E-4772-B758-98FE-06D6999F1A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CDE454-2820-4355-977B-31ED5BD325B0}" type="datetimeFigureOut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550724D-348F-CD9D-C99D-9BF3614C2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C6D0C36-4AF7-CF05-8A90-0F3593BBA1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EF8312-D811-498B-863C-C22A58647322}" type="slidenum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21460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7153691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0551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FB6EFEC4-1375-FF4D-8CBA-02C1F8030A1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617839" y="402483"/>
            <a:ext cx="2897951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AD38178D-D225-4DB8-BA12-FF03FF5964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923985" y="402483"/>
            <a:ext cx="8525857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1C9D3EC-8492-50BB-B325-3FA4EDC6A2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CDE454-2820-4355-977B-31ED5BD325B0}" type="datetimeFigureOut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6CE7B9C-DC50-8FB0-9C2E-71C8B5B24A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EC2AF32-A220-D533-2D8B-F9E804585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EF8312-D811-498B-863C-C22A58647322}" type="slidenum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32157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_ЗП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 txBox="1">
            <a:spLocks/>
          </p:cNvSpPr>
          <p:nvPr userDrawn="1"/>
        </p:nvSpPr>
        <p:spPr>
          <a:xfrm>
            <a:off x="923985" y="347653"/>
            <a:ext cx="12515790" cy="650971"/>
          </a:xfrm>
          <a:prstGeom prst="rect">
            <a:avLst/>
          </a:prstGeom>
        </p:spPr>
        <p:txBody>
          <a:bodyPr/>
          <a:lstStyle>
            <a:lvl1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911225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>
              <a:spcBef>
                <a:spcPts val="0"/>
              </a:spcBef>
              <a:defRPr/>
            </a:pPr>
            <a:r>
              <a:rPr lang="ru-RU" sz="294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инистерство национальной экономики</a:t>
            </a:r>
          </a:p>
          <a:p>
            <a:pPr algn="ctr">
              <a:spcBef>
                <a:spcPts val="0"/>
              </a:spcBef>
              <a:defRPr/>
            </a:pPr>
            <a:r>
              <a:rPr lang="ru-RU" sz="294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и Казахстан </a:t>
            </a:r>
          </a:p>
        </p:txBody>
      </p:sp>
      <p:pic>
        <p:nvPicPr>
          <p:cNvPr id="25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3972" y="347652"/>
            <a:ext cx="907652" cy="951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85000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7321686"/>
            <a:ext cx="13439775" cy="23799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13028297" y="7321686"/>
            <a:ext cx="480659" cy="2379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10149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93956F-647A-44B9-8163-DDB447652883}" type="slidenum">
              <a:rPr kumimoji="0" lang="ru-RU" altLang="ru-RU" sz="1176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10149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176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821298"/>
            <a:ext cx="13439775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6261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26961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821298"/>
            <a:ext cx="13439775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/>
          <p:cNvCxnSpPr/>
          <p:nvPr userDrawn="1"/>
        </p:nvCxnSpPr>
        <p:spPr>
          <a:xfrm flipV="1">
            <a:off x="0" y="7314686"/>
            <a:ext cx="13439775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 userDrawn="1"/>
        </p:nvSpPr>
        <p:spPr>
          <a:xfrm>
            <a:off x="12959117" y="7321686"/>
            <a:ext cx="480659" cy="237990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fld id="{F8F6FAAD-B68C-4C14-A12C-64AE1811CFA5}" type="slidenum">
              <a:rPr lang="ru-RU" altLang="ru-RU" sz="1176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 algn="ctr" eaLnBrk="1" hangingPunct="1"/>
              <a:t>‹#›</a:t>
            </a:fld>
            <a:endParaRPr lang="ru-RU" altLang="ru-RU" sz="1176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1" y="7352019"/>
            <a:ext cx="3553608" cy="207657"/>
          </a:xfrm>
          <a:prstGeom prst="rect">
            <a:avLst/>
          </a:prstGeom>
        </p:spPr>
        <p:txBody>
          <a:bodyPr/>
          <a:lstStyle>
            <a:lvl1pPr>
              <a:defRPr sz="93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08447BC-55E5-4AFA-9A35-40E3E1AB0665}" type="datetime8">
              <a:rPr lang="ru-RU" smtClean="0"/>
              <a:t>08.09.2023 15:38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756605" y="7352019"/>
            <a:ext cx="6939217" cy="207657"/>
          </a:xfrm>
          <a:prstGeom prst="rect">
            <a:avLst/>
          </a:prstGeom>
        </p:spPr>
        <p:txBody>
          <a:bodyPr/>
          <a:lstStyle>
            <a:lvl1pPr>
              <a:defRPr sz="93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9901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0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7153691"/>
            <a:ext cx="13439775" cy="423289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1580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64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0" y="3508016"/>
            <a:ext cx="13439775" cy="635239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015807" eaLnBrk="1" hangingPunct="1">
              <a:defRPr/>
            </a:pPr>
            <a:r>
              <a:rPr lang="kk-KZ" sz="3528" b="1" cap="small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</a:t>
            </a:r>
            <a:r>
              <a:rPr lang="kk-KZ" sz="3528" b="1" cap="sm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атериалы</a:t>
            </a:r>
            <a:endParaRPr lang="ru-RU" sz="3528" b="1" cap="smal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16901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9138" y="1664823"/>
            <a:ext cx="11946334" cy="50223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IN" dirty="0"/>
              <a:t>Click to edit Master text styles (TAS Body text)</a:t>
            </a:r>
          </a:p>
          <a:p>
            <a:pPr lvl="1"/>
            <a:r>
              <a:rPr lang="en-US" dirty="0"/>
              <a:t>Second level (TAS Text heading 1)</a:t>
            </a:r>
          </a:p>
          <a:p>
            <a:pPr lvl="2"/>
            <a:r>
              <a:rPr lang="en-US" dirty="0"/>
              <a:t>Third level (TAS Text heading 2)</a:t>
            </a:r>
          </a:p>
          <a:p>
            <a:pPr lvl="3"/>
            <a:r>
              <a:rPr lang="en-US" dirty="0"/>
              <a:t>Fourth level (TAS Bullet 1)</a:t>
            </a:r>
          </a:p>
          <a:p>
            <a:pPr lvl="4"/>
            <a:r>
              <a:rPr lang="en-US" dirty="0"/>
              <a:t>Fifth level (TAS Bullet 2)</a:t>
            </a:r>
          </a:p>
          <a:p>
            <a:pPr lvl="5"/>
            <a:r>
              <a:rPr lang="en-US" dirty="0"/>
              <a:t>Sixth level (TAS Bullet number)</a:t>
            </a:r>
          </a:p>
          <a:p>
            <a:pPr lvl="6"/>
            <a:r>
              <a:rPr lang="en-US" dirty="0"/>
              <a:t>Seventh level (TAS Text heading 3)</a:t>
            </a:r>
          </a:p>
          <a:p>
            <a:pPr lvl="7"/>
            <a:r>
              <a:rPr lang="en-US" dirty="0"/>
              <a:t>Eighth level (TAS Text heading 4)</a:t>
            </a:r>
          </a:p>
          <a:p>
            <a:pPr lvl="8"/>
            <a:r>
              <a:rPr lang="en-IN" dirty="0"/>
              <a:t>Ninth level (TAS Callout heading)</a:t>
            </a:r>
          </a:p>
        </p:txBody>
      </p:sp>
      <p:sp>
        <p:nvSpPr>
          <p:cNvPr id="18" name="Rectangle 116">
            <a:extLst>
              <a:ext uri="{FF2B5EF4-FFF2-40B4-BE49-F238E27FC236}">
                <a16:creationId xmlns:a16="http://schemas.microsoft.com/office/drawing/2014/main" id="{BF8EEFD6-FAF6-4531-920B-7882BDB74682}"/>
              </a:ext>
            </a:extLst>
          </p:cNvPr>
          <p:cNvSpPr/>
          <p:nvPr/>
        </p:nvSpPr>
        <p:spPr>
          <a:xfrm>
            <a:off x="739143" y="6995973"/>
            <a:ext cx="65" cy="10772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/>
            <a:endParaRPr lang="en-US" sz="700" b="0" i="0" spc="-1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24B5BD6-68A7-40D2-B9EC-E49117D758C7}"/>
              </a:ext>
            </a:extLst>
          </p:cNvPr>
          <p:cNvCxnSpPr>
            <a:cxnSpLocks/>
          </p:cNvCxnSpPr>
          <p:nvPr/>
        </p:nvCxnSpPr>
        <p:spPr>
          <a:xfrm>
            <a:off x="739143" y="6944905"/>
            <a:ext cx="11954981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3315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4070" r:id="rId2"/>
  </p:sldLayoutIdLst>
  <p:hf sldNum="0" hdr="0" dt="0"/>
  <p:txStyles>
    <p:titleStyle>
      <a:lvl1pPr algn="l" defTabSz="780581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tx1"/>
          </a:solidFill>
          <a:latin typeface="Arial" panose="020B0604020202020204" pitchFamily="34" charset="0"/>
          <a:ea typeface="+mj-ea"/>
          <a:cs typeface="Arial" pitchFamily="34" charset="0"/>
        </a:defRPr>
      </a:lvl1pPr>
    </p:titleStyle>
    <p:bodyStyle>
      <a:lvl1pPr marL="0" indent="0" algn="l" defTabSz="780581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Tx/>
        <a:buNone/>
        <a:defRPr sz="1000" b="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1pPr>
      <a:lvl2pPr marL="0" indent="0" algn="l" defTabSz="780581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Tx/>
        <a:buNone/>
        <a:defRPr sz="150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2pPr>
      <a:lvl3pPr marL="0" indent="0" algn="l" defTabSz="780581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Tx/>
        <a:buNone/>
        <a:defRPr sz="1000" b="1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3pPr>
      <a:lvl4pPr marL="179912" indent="-179912" algn="l" defTabSz="780581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4pPr>
      <a:lvl5pPr marL="359824" indent="-179912" algn="l" defTabSz="780581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70000"/>
        <a:buFont typeface="Arial" panose="020B0604020202020204" pitchFamily="34" charset="0"/>
        <a:buChar char="►"/>
        <a:defRPr sz="1000" kern="1200">
          <a:solidFill>
            <a:schemeClr val="bg1"/>
          </a:solidFill>
          <a:latin typeface="+mj-lt"/>
          <a:ea typeface="+mn-ea"/>
          <a:cs typeface="Arial" panose="020B0604020202020204" pitchFamily="34" charset="0"/>
        </a:defRPr>
      </a:lvl5pPr>
      <a:lvl6pPr marL="0" indent="-179912" algn="l" defTabSz="780581" rtl="0" eaLnBrk="1" latinLnBrk="0" hangingPunct="1">
        <a:spcBef>
          <a:spcPts val="0"/>
        </a:spcBef>
        <a:spcAft>
          <a:spcPts val="600"/>
        </a:spcAft>
        <a:buFont typeface="+mj-lt"/>
        <a:buAutoNum type="arabicPeriod"/>
        <a:defRPr sz="1000" kern="1200">
          <a:solidFill>
            <a:schemeClr val="bg1"/>
          </a:solidFill>
          <a:latin typeface="+mj-lt"/>
          <a:ea typeface="+mn-ea"/>
          <a:cs typeface="+mn-cs"/>
        </a:defRPr>
      </a:lvl6pPr>
      <a:lvl7pPr marL="0" indent="0" algn="l" defTabSz="780581" rtl="0" eaLnBrk="1" latinLnBrk="0" hangingPunct="1">
        <a:spcBef>
          <a:spcPts val="0"/>
        </a:spcBef>
        <a:spcAft>
          <a:spcPts val="600"/>
        </a:spcAft>
        <a:buFontTx/>
        <a:buNone/>
        <a:defRPr sz="1000" b="1" kern="1200">
          <a:solidFill>
            <a:schemeClr val="bg1"/>
          </a:solidFill>
          <a:latin typeface="+mj-lt"/>
          <a:ea typeface="+mn-ea"/>
          <a:cs typeface="+mn-cs"/>
        </a:defRPr>
      </a:lvl7pPr>
      <a:lvl8pPr marL="0" indent="0" algn="l" defTabSz="780581" rtl="0" eaLnBrk="1" latinLnBrk="0" hangingPunct="1">
        <a:spcBef>
          <a:spcPts val="0"/>
        </a:spcBef>
        <a:spcAft>
          <a:spcPts val="600"/>
        </a:spcAft>
        <a:buFontTx/>
        <a:buNone/>
        <a:defRPr sz="1000" i="1" kern="1200">
          <a:solidFill>
            <a:schemeClr val="bg1"/>
          </a:solidFill>
          <a:latin typeface="+mj-lt"/>
          <a:ea typeface="+mn-ea"/>
          <a:cs typeface="+mn-cs"/>
        </a:defRPr>
      </a:lvl8pPr>
      <a:lvl9pPr marL="0" indent="0" algn="l" defTabSz="780581" rtl="0" eaLnBrk="1" latinLnBrk="0" hangingPunct="1">
        <a:spcBef>
          <a:spcPts val="0"/>
        </a:spcBef>
        <a:spcAft>
          <a:spcPts val="600"/>
        </a:spcAft>
        <a:buFontTx/>
        <a:buNone/>
        <a:defRPr sz="1000" b="1" kern="1200">
          <a:solidFill>
            <a:schemeClr val="bg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7805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90291" algn="l" defTabSz="7805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80581" algn="l" defTabSz="7805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70873" algn="l" defTabSz="7805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61165" algn="l" defTabSz="7805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51454" algn="l" defTabSz="7805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41745" algn="l" defTabSz="7805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32037" algn="l" defTabSz="7805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22326" algn="l" defTabSz="7805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1733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2" r:id="rId1"/>
    <p:sldLayoutId id="2147484073" r:id="rId2"/>
    <p:sldLayoutId id="2147484074" r:id="rId3"/>
    <p:sldLayoutId id="2147484075" r:id="rId4"/>
    <p:sldLayoutId id="2147484076" r:id="rId5"/>
    <p:sldLayoutId id="2147484077" r:id="rId6"/>
    <p:sldLayoutId id="2147484078" r:id="rId7"/>
    <p:sldLayoutId id="2147484079" r:id="rId8"/>
    <p:sldLayoutId id="2147484080" r:id="rId9"/>
    <p:sldLayoutId id="2147484081" r:id="rId10"/>
    <p:sldLayoutId id="2147484082" r:id="rId11"/>
    <p:sldLayoutId id="2147484083" r:id="rId12"/>
    <p:sldLayoutId id="2147484085" r:id="rId13"/>
    <p:sldLayoutId id="2147484086" r:id="rId14"/>
    <p:sldLayoutId id="2147484087" r:id="rId15"/>
  </p:sldLayoutIdLst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5pPr>
      <a:lvl6pPr marL="505272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6pPr>
      <a:lvl7pPr marL="1010542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7pPr>
      <a:lvl8pPr marL="1515814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8pPr>
      <a:lvl9pPr marL="2021085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51997" indent="-251997" algn="l" rtl="0" eaLnBrk="0" fontAlgn="base" hangingPunct="0">
        <a:lnSpc>
          <a:spcPct val="90000"/>
        </a:lnSpc>
        <a:spcBef>
          <a:spcPts val="1102"/>
        </a:spcBef>
        <a:spcAft>
          <a:spcPct val="0"/>
        </a:spcAft>
        <a:buFont typeface="Arial" pitchFamily="34" charset="0"/>
        <a:buChar char="•"/>
        <a:defRPr sz="3087" kern="1200">
          <a:solidFill>
            <a:schemeClr val="tx1"/>
          </a:solidFill>
          <a:latin typeface="+mn-lt"/>
          <a:ea typeface="+mn-ea"/>
          <a:cs typeface="+mn-cs"/>
        </a:defRPr>
      </a:lvl1pPr>
      <a:lvl2pPr marL="755992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4115" kern="1200">
          <a:solidFill>
            <a:schemeClr val="tx1"/>
          </a:solidFill>
          <a:latin typeface="+mn-lt"/>
          <a:ea typeface="+mn-ea"/>
          <a:cs typeface="+mn-cs"/>
        </a:defRPr>
      </a:lvl2pPr>
      <a:lvl3pPr marL="1262320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6315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2940" kern="1200">
          <a:solidFill>
            <a:schemeClr val="tx1"/>
          </a:solidFill>
          <a:latin typeface="+mn-lt"/>
          <a:ea typeface="+mn-ea"/>
          <a:cs typeface="+mn-cs"/>
        </a:defRPr>
      </a:lvl4pPr>
      <a:lvl5pPr marL="2272642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2940" kern="1200">
          <a:solidFill>
            <a:schemeClr val="tx1"/>
          </a:solidFill>
          <a:latin typeface="+mn-lt"/>
          <a:ea typeface="+mn-ea"/>
          <a:cs typeface="+mn-cs"/>
        </a:defRPr>
      </a:lvl5pPr>
      <a:lvl6pPr marL="2778992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6pPr>
      <a:lvl7pPr marL="3284262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7pPr>
      <a:lvl8pPr marL="3789534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8pPr>
      <a:lvl9pPr marL="4294806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1pPr>
      <a:lvl2pPr marL="505272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2pPr>
      <a:lvl3pPr marL="1010542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3pPr>
      <a:lvl4pPr marL="1515814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4pPr>
      <a:lvl5pPr marL="2021085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5pPr>
      <a:lvl6pPr marL="2526355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6pPr>
      <a:lvl7pPr marL="3031627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7pPr>
      <a:lvl8pPr marL="3536899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8pPr>
      <a:lvl9pPr marL="4042169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9755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9" r:id="rId1"/>
    <p:sldLayoutId id="2147484090" r:id="rId2"/>
    <p:sldLayoutId id="2147484091" r:id="rId3"/>
    <p:sldLayoutId id="2147484092" r:id="rId4"/>
    <p:sldLayoutId id="2147484093" r:id="rId5"/>
    <p:sldLayoutId id="2147484094" r:id="rId6"/>
    <p:sldLayoutId id="2147484095" r:id="rId7"/>
    <p:sldLayoutId id="2147484096" r:id="rId8"/>
    <p:sldLayoutId id="2147484097" r:id="rId9"/>
    <p:sldLayoutId id="2147484098" r:id="rId10"/>
    <p:sldLayoutId id="2147484099" r:id="rId11"/>
    <p:sldLayoutId id="2147484100" r:id="rId12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50">
          <a:solidFill>
            <a:schemeClr val="tx1"/>
          </a:solidFill>
          <a:latin typeface="Calibri Light" panose="020F0302020204030204" pitchFamily="34" charset="0"/>
        </a:defRPr>
      </a:lvl5pPr>
      <a:lvl6pPr marL="505272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6pPr>
      <a:lvl7pPr marL="1010542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7pPr>
      <a:lvl8pPr marL="1515814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8pPr>
      <a:lvl9pPr marL="2021085" algn="l" rtl="0" fontAlgn="base">
        <a:lnSpc>
          <a:spcPct val="90000"/>
        </a:lnSpc>
        <a:spcBef>
          <a:spcPct val="0"/>
        </a:spcBef>
        <a:spcAft>
          <a:spcPct val="0"/>
        </a:spcAft>
        <a:defRPr sz="4862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51997" indent="-251997" algn="l" rtl="0" eaLnBrk="0" fontAlgn="base" hangingPunct="0">
        <a:lnSpc>
          <a:spcPct val="90000"/>
        </a:lnSpc>
        <a:spcBef>
          <a:spcPts val="1102"/>
        </a:spcBef>
        <a:spcAft>
          <a:spcPct val="0"/>
        </a:spcAft>
        <a:buFont typeface="Arial" pitchFamily="34" charset="0"/>
        <a:buChar char="•"/>
        <a:defRPr sz="3087" kern="1200">
          <a:solidFill>
            <a:schemeClr val="tx1"/>
          </a:solidFill>
          <a:latin typeface="+mn-lt"/>
          <a:ea typeface="+mn-ea"/>
          <a:cs typeface="+mn-cs"/>
        </a:defRPr>
      </a:lvl1pPr>
      <a:lvl2pPr marL="755992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4115" kern="1200">
          <a:solidFill>
            <a:schemeClr val="tx1"/>
          </a:solidFill>
          <a:latin typeface="+mn-lt"/>
          <a:ea typeface="+mn-ea"/>
          <a:cs typeface="+mn-cs"/>
        </a:defRPr>
      </a:lvl2pPr>
      <a:lvl3pPr marL="1262320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6315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2940" kern="1200">
          <a:solidFill>
            <a:schemeClr val="tx1"/>
          </a:solidFill>
          <a:latin typeface="+mn-lt"/>
          <a:ea typeface="+mn-ea"/>
          <a:cs typeface="+mn-cs"/>
        </a:defRPr>
      </a:lvl4pPr>
      <a:lvl5pPr marL="2272642" indent="-251997" algn="l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pitchFamily="34" charset="0"/>
        <a:buChar char="•"/>
        <a:defRPr sz="2940" kern="1200">
          <a:solidFill>
            <a:schemeClr val="tx1"/>
          </a:solidFill>
          <a:latin typeface="+mn-lt"/>
          <a:ea typeface="+mn-ea"/>
          <a:cs typeface="+mn-cs"/>
        </a:defRPr>
      </a:lvl5pPr>
      <a:lvl6pPr marL="2778992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6pPr>
      <a:lvl7pPr marL="3284262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7pPr>
      <a:lvl8pPr marL="3789534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8pPr>
      <a:lvl9pPr marL="4294806" indent="-252635" algn="l" defTabSz="1010542" rtl="0" eaLnBrk="1" latinLnBrk="0" hangingPunct="1">
        <a:lnSpc>
          <a:spcPct val="90000"/>
        </a:lnSpc>
        <a:spcBef>
          <a:spcPts val="553"/>
        </a:spcBef>
        <a:buFont typeface="Arial" panose="020B0604020202020204" pitchFamily="34" charset="0"/>
        <a:buChar char="•"/>
        <a:defRPr sz="198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1pPr>
      <a:lvl2pPr marL="505272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2pPr>
      <a:lvl3pPr marL="1010542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3pPr>
      <a:lvl4pPr marL="1515814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4pPr>
      <a:lvl5pPr marL="2021085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5pPr>
      <a:lvl6pPr marL="2526355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6pPr>
      <a:lvl7pPr marL="3031627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7pPr>
      <a:lvl8pPr marL="3536899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8pPr>
      <a:lvl9pPr marL="4042169" algn="l" defTabSz="1010542" rtl="0" eaLnBrk="1" latinLnBrk="0" hangingPunct="1">
        <a:defRPr sz="19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A403F7-531A-A754-3C25-4ABAC7D277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3985" y="402483"/>
            <a:ext cx="11591806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3321186-2A34-138F-9782-9AC7FFA502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3985" y="2012414"/>
            <a:ext cx="11591806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721E506-8D1E-61B0-2F79-D711781DB7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3985" y="7006699"/>
            <a:ext cx="3023949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CDE454-2820-4355-977B-31ED5BD325B0}" type="datetimeFigureOut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8.09.2023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A468917-F9CE-3F14-7264-503D062E31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51926" y="7006699"/>
            <a:ext cx="4535924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357651E-AED6-DBD1-2A37-F85A00A68A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91841" y="7006699"/>
            <a:ext cx="3023949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10423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EF8312-D811-498B-863C-C22A58647322}" type="slidenum">
              <a:rPr kumimoji="0" lang="ru-RU" sz="1323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0423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323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5607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2" r:id="rId1"/>
    <p:sldLayoutId id="2147484103" r:id="rId2"/>
    <p:sldLayoutId id="2147484104" r:id="rId3"/>
    <p:sldLayoutId id="2147484105" r:id="rId4"/>
    <p:sldLayoutId id="2147484106" r:id="rId5"/>
    <p:sldLayoutId id="2147484107" r:id="rId6"/>
    <p:sldLayoutId id="2147484108" r:id="rId7"/>
    <p:sldLayoutId id="2147484109" r:id="rId8"/>
    <p:sldLayoutId id="2147484110" r:id="rId9"/>
    <p:sldLayoutId id="2147484111" r:id="rId10"/>
    <p:sldLayoutId id="2147484112" r:id="rId11"/>
  </p:sldLayoutIdLst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A3BCC026-D41F-4484-AC63-1950436B9D32}"/>
              </a:ext>
            </a:extLst>
          </p:cNvPr>
          <p:cNvSpPr/>
          <p:nvPr/>
        </p:nvSpPr>
        <p:spPr>
          <a:xfrm>
            <a:off x="-5081" y="0"/>
            <a:ext cx="13444856" cy="5345998"/>
          </a:xfrm>
          <a:prstGeom prst="rect">
            <a:avLst/>
          </a:prstGeom>
          <a:pattFill prst="pct20">
            <a:fgClr>
              <a:srgbClr val="0070C0"/>
            </a:fgClr>
            <a:bgClr>
              <a:schemeClr val="tx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7" rIns="91396" bIns="45697" anchor="ctr"/>
          <a:lstStyle/>
          <a:p>
            <a:pPr algn="ctr" defTabSz="1014491" eaLnBrk="0" hangingPunct="0">
              <a:defRPr/>
            </a:pPr>
            <a:endParaRPr lang="en-US" sz="2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1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id="{CB44B674-4B83-437E-9D27-4646BEA5E009}"/>
              </a:ext>
            </a:extLst>
          </p:cNvPr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14508" y="1445815"/>
            <a:ext cx="2810756" cy="28148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DA116948-7F2A-4BEB-90E2-3ED087441C93}"/>
              </a:ext>
            </a:extLst>
          </p:cNvPr>
          <p:cNvGrpSpPr/>
          <p:nvPr/>
        </p:nvGrpSpPr>
        <p:grpSpPr>
          <a:xfrm>
            <a:off x="8200373" y="2135780"/>
            <a:ext cx="5106475" cy="1427942"/>
            <a:chOff x="6913248" y="5262784"/>
            <a:chExt cx="4914893" cy="1295402"/>
          </a:xfrm>
          <a:solidFill>
            <a:srgbClr val="0C6CBD"/>
          </a:solidFill>
        </p:grpSpPr>
        <p:grpSp>
          <p:nvGrpSpPr>
            <p:cNvPr id="103" name="Группа 21">
              <a:extLst>
                <a:ext uri="{FF2B5EF4-FFF2-40B4-BE49-F238E27FC236}">
                  <a16:creationId xmlns:a16="http://schemas.microsoft.com/office/drawing/2014/main" id="{6DA6FBD2-1CFC-4016-81DA-F65FF52614FA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13" name="Graphic 1">
                <a:extLst>
                  <a:ext uri="{FF2B5EF4-FFF2-40B4-BE49-F238E27FC236}">
                    <a16:creationId xmlns:a16="http://schemas.microsoft.com/office/drawing/2014/main" id="{CF1CFA52-0940-4A9F-85CD-0C0933F335E2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4" name="Graphic 1">
                <a:extLst>
                  <a:ext uri="{FF2B5EF4-FFF2-40B4-BE49-F238E27FC236}">
                    <a16:creationId xmlns:a16="http://schemas.microsoft.com/office/drawing/2014/main" id="{68911975-B30B-4ABE-BFF8-BD381CE31403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Graphic 1">
                <a:extLst>
                  <a:ext uri="{FF2B5EF4-FFF2-40B4-BE49-F238E27FC236}">
                    <a16:creationId xmlns:a16="http://schemas.microsoft.com/office/drawing/2014/main" id="{66BB04E9-6DFD-4E4A-BF02-9BBA66AE98DE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6" name="Graphic 1">
                <a:extLst>
                  <a:ext uri="{FF2B5EF4-FFF2-40B4-BE49-F238E27FC236}">
                    <a16:creationId xmlns:a16="http://schemas.microsoft.com/office/drawing/2014/main" id="{454A54D9-C5E7-40C9-97DD-11B04BC28CA9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7" name="Graphic 1">
                <a:extLst>
                  <a:ext uri="{FF2B5EF4-FFF2-40B4-BE49-F238E27FC236}">
                    <a16:creationId xmlns:a16="http://schemas.microsoft.com/office/drawing/2014/main" id="{DDBF040B-545E-4188-B9A1-1AB981819D88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8" name="Graphic 1">
                <a:extLst>
                  <a:ext uri="{FF2B5EF4-FFF2-40B4-BE49-F238E27FC236}">
                    <a16:creationId xmlns:a16="http://schemas.microsoft.com/office/drawing/2014/main" id="{A4E9466B-BF7F-478D-9CC8-E0F336B6F944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9" name="Graphic 1">
                <a:extLst>
                  <a:ext uri="{FF2B5EF4-FFF2-40B4-BE49-F238E27FC236}">
                    <a16:creationId xmlns:a16="http://schemas.microsoft.com/office/drawing/2014/main" id="{53E52294-153A-4FBD-9112-25104E58F069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0" name="Graphic 1">
                <a:extLst>
                  <a:ext uri="{FF2B5EF4-FFF2-40B4-BE49-F238E27FC236}">
                    <a16:creationId xmlns:a16="http://schemas.microsoft.com/office/drawing/2014/main" id="{E8EC8002-92ED-416F-83AA-733AF51BD569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4" name="Группа 21">
              <a:extLst>
                <a:ext uri="{FF2B5EF4-FFF2-40B4-BE49-F238E27FC236}">
                  <a16:creationId xmlns:a16="http://schemas.microsoft.com/office/drawing/2014/main" id="{A59F9D55-0203-4818-8036-960239665DB4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05" name="Graphic 1">
                <a:extLst>
                  <a:ext uri="{FF2B5EF4-FFF2-40B4-BE49-F238E27FC236}">
                    <a16:creationId xmlns:a16="http://schemas.microsoft.com/office/drawing/2014/main" id="{B32ED6C2-7ED8-4E58-9BFA-9575357E01DE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6" name="Graphic 1">
                <a:extLst>
                  <a:ext uri="{FF2B5EF4-FFF2-40B4-BE49-F238E27FC236}">
                    <a16:creationId xmlns:a16="http://schemas.microsoft.com/office/drawing/2014/main" id="{AD862E38-73BA-41AD-B197-95363DEBD330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7" name="Graphic 1">
                <a:extLst>
                  <a:ext uri="{FF2B5EF4-FFF2-40B4-BE49-F238E27FC236}">
                    <a16:creationId xmlns:a16="http://schemas.microsoft.com/office/drawing/2014/main" id="{CD43CABA-B572-4768-8B21-E9DA8A386897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8" name="Graphic 1">
                <a:extLst>
                  <a:ext uri="{FF2B5EF4-FFF2-40B4-BE49-F238E27FC236}">
                    <a16:creationId xmlns:a16="http://schemas.microsoft.com/office/drawing/2014/main" id="{DFCCFB9E-796D-45C8-9D4B-7214B5E86446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9" name="Graphic 1">
                <a:extLst>
                  <a:ext uri="{FF2B5EF4-FFF2-40B4-BE49-F238E27FC236}">
                    <a16:creationId xmlns:a16="http://schemas.microsoft.com/office/drawing/2014/main" id="{17114EF9-A875-4D96-A350-F8A76F601F60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Graphic 1">
                <a:extLst>
                  <a:ext uri="{FF2B5EF4-FFF2-40B4-BE49-F238E27FC236}">
                    <a16:creationId xmlns:a16="http://schemas.microsoft.com/office/drawing/2014/main" id="{337B3D36-A053-47D4-8BD6-5838F3A8B17E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1" name="Graphic 1">
                <a:extLst>
                  <a:ext uri="{FF2B5EF4-FFF2-40B4-BE49-F238E27FC236}">
                    <a16:creationId xmlns:a16="http://schemas.microsoft.com/office/drawing/2014/main" id="{AAF7F6D4-6267-4CC6-9CDA-14B19BF9B8C3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2" name="Graphic 1">
                <a:extLst>
                  <a:ext uri="{FF2B5EF4-FFF2-40B4-BE49-F238E27FC236}">
                    <a16:creationId xmlns:a16="http://schemas.microsoft.com/office/drawing/2014/main" id="{5EE65ED5-A044-480B-9C94-A45F400316EF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40" name="Группа 139">
            <a:extLst>
              <a:ext uri="{FF2B5EF4-FFF2-40B4-BE49-F238E27FC236}">
                <a16:creationId xmlns:a16="http://schemas.microsoft.com/office/drawing/2014/main" id="{FB7E02FC-7317-4ED5-A659-C5FCCDECC0B2}"/>
              </a:ext>
            </a:extLst>
          </p:cNvPr>
          <p:cNvGrpSpPr/>
          <p:nvPr/>
        </p:nvGrpSpPr>
        <p:grpSpPr>
          <a:xfrm>
            <a:off x="136643" y="2135780"/>
            <a:ext cx="5106475" cy="1427942"/>
            <a:chOff x="6913248" y="5262784"/>
            <a:chExt cx="4914893" cy="1295402"/>
          </a:xfrm>
          <a:solidFill>
            <a:srgbClr val="0C6CBD"/>
          </a:solidFill>
        </p:grpSpPr>
        <p:grpSp>
          <p:nvGrpSpPr>
            <p:cNvPr id="141" name="Группа 21">
              <a:extLst>
                <a:ext uri="{FF2B5EF4-FFF2-40B4-BE49-F238E27FC236}">
                  <a16:creationId xmlns:a16="http://schemas.microsoft.com/office/drawing/2014/main" id="{FB78115B-C6A5-41E0-932C-34DB86D9E816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51" name="Graphic 1">
                <a:extLst>
                  <a:ext uri="{FF2B5EF4-FFF2-40B4-BE49-F238E27FC236}">
                    <a16:creationId xmlns:a16="http://schemas.microsoft.com/office/drawing/2014/main" id="{E90D109E-C172-40AE-BFF7-646FF506EE35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2" name="Graphic 1">
                <a:extLst>
                  <a:ext uri="{FF2B5EF4-FFF2-40B4-BE49-F238E27FC236}">
                    <a16:creationId xmlns:a16="http://schemas.microsoft.com/office/drawing/2014/main" id="{AFE94FE4-BB04-491E-8783-4E416C2D1168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3" name="Graphic 1">
                <a:extLst>
                  <a:ext uri="{FF2B5EF4-FFF2-40B4-BE49-F238E27FC236}">
                    <a16:creationId xmlns:a16="http://schemas.microsoft.com/office/drawing/2014/main" id="{4D7FE1F4-DA79-4BEA-B68D-8ED6A3859731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4" name="Graphic 1">
                <a:extLst>
                  <a:ext uri="{FF2B5EF4-FFF2-40B4-BE49-F238E27FC236}">
                    <a16:creationId xmlns:a16="http://schemas.microsoft.com/office/drawing/2014/main" id="{810D097D-B676-4253-A13E-CF1825774DEC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5" name="Graphic 1">
                <a:extLst>
                  <a:ext uri="{FF2B5EF4-FFF2-40B4-BE49-F238E27FC236}">
                    <a16:creationId xmlns:a16="http://schemas.microsoft.com/office/drawing/2014/main" id="{2DC0A96A-72C3-4514-A708-EF2CE4C2B294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6" name="Graphic 1">
                <a:extLst>
                  <a:ext uri="{FF2B5EF4-FFF2-40B4-BE49-F238E27FC236}">
                    <a16:creationId xmlns:a16="http://schemas.microsoft.com/office/drawing/2014/main" id="{9D10D7EB-ACCA-48A7-B81A-2B0BABD30BA3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7" name="Graphic 1">
                <a:extLst>
                  <a:ext uri="{FF2B5EF4-FFF2-40B4-BE49-F238E27FC236}">
                    <a16:creationId xmlns:a16="http://schemas.microsoft.com/office/drawing/2014/main" id="{050CC6E2-C821-44D1-A725-CE9080AE55F2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8" name="Graphic 1">
                <a:extLst>
                  <a:ext uri="{FF2B5EF4-FFF2-40B4-BE49-F238E27FC236}">
                    <a16:creationId xmlns:a16="http://schemas.microsoft.com/office/drawing/2014/main" id="{44A1BAB2-8262-4B57-A6CD-7D1E72A204E6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42" name="Группа 21">
              <a:extLst>
                <a:ext uri="{FF2B5EF4-FFF2-40B4-BE49-F238E27FC236}">
                  <a16:creationId xmlns:a16="http://schemas.microsoft.com/office/drawing/2014/main" id="{6014815E-13DD-442D-9A34-1CADCC0BFB59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43" name="Graphic 1">
                <a:extLst>
                  <a:ext uri="{FF2B5EF4-FFF2-40B4-BE49-F238E27FC236}">
                    <a16:creationId xmlns:a16="http://schemas.microsoft.com/office/drawing/2014/main" id="{3F8691C7-A1B8-4561-B2AA-91A455FED2FF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4" name="Graphic 1">
                <a:extLst>
                  <a:ext uri="{FF2B5EF4-FFF2-40B4-BE49-F238E27FC236}">
                    <a16:creationId xmlns:a16="http://schemas.microsoft.com/office/drawing/2014/main" id="{33D2E5A2-5B39-4AF1-B9B9-14F35386A78B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5" name="Graphic 1">
                <a:extLst>
                  <a:ext uri="{FF2B5EF4-FFF2-40B4-BE49-F238E27FC236}">
                    <a16:creationId xmlns:a16="http://schemas.microsoft.com/office/drawing/2014/main" id="{06A9DB0F-BBE4-4D4C-ADC7-43759C2A8AF4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6" name="Graphic 1">
                <a:extLst>
                  <a:ext uri="{FF2B5EF4-FFF2-40B4-BE49-F238E27FC236}">
                    <a16:creationId xmlns:a16="http://schemas.microsoft.com/office/drawing/2014/main" id="{60FD6759-4FBC-4433-819D-584856C22B99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7" name="Graphic 1">
                <a:extLst>
                  <a:ext uri="{FF2B5EF4-FFF2-40B4-BE49-F238E27FC236}">
                    <a16:creationId xmlns:a16="http://schemas.microsoft.com/office/drawing/2014/main" id="{F44172F0-E8A3-40B5-85FD-6C52A49A326B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8" name="Graphic 1">
                <a:extLst>
                  <a:ext uri="{FF2B5EF4-FFF2-40B4-BE49-F238E27FC236}">
                    <a16:creationId xmlns:a16="http://schemas.microsoft.com/office/drawing/2014/main" id="{D4735F7C-4CA0-4BEE-B329-B8CA1799A416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49" name="Graphic 1">
                <a:extLst>
                  <a:ext uri="{FF2B5EF4-FFF2-40B4-BE49-F238E27FC236}">
                    <a16:creationId xmlns:a16="http://schemas.microsoft.com/office/drawing/2014/main" id="{31A71428-443D-462F-98F8-A3E2FA43706A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0" name="Graphic 1">
                <a:extLst>
                  <a:ext uri="{FF2B5EF4-FFF2-40B4-BE49-F238E27FC236}">
                    <a16:creationId xmlns:a16="http://schemas.microsoft.com/office/drawing/2014/main" id="{DFF7CE6A-1D77-4201-B276-98D34E81D1CD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1014491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2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59" name="TextBox 7">
            <a:extLst>
              <a:ext uri="{FF2B5EF4-FFF2-40B4-BE49-F238E27FC236}">
                <a16:creationId xmlns:a16="http://schemas.microsoft.com/office/drawing/2014/main" id="{946BD61A-E0B8-41B3-957A-A39B81ABD8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14558" y="7053850"/>
            <a:ext cx="4112324" cy="369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6" tIns="45697" rIns="91396" bIns="45697"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defTabSz="101449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800" b="1" dirty="0" smtClean="0">
                <a:solidFill>
                  <a:srgbClr val="194B75"/>
                </a:solidFill>
                <a:latin typeface="Arial" panose="020B0604020202020204" pitchFamily="34" charset="0"/>
              </a:rPr>
              <a:t> Астана қ., 2023 ж. </a:t>
            </a:r>
            <a:r>
              <a:rPr lang="ru-RU" altLang="ru-RU" sz="1800" b="1" dirty="0" err="1" smtClean="0">
                <a:solidFill>
                  <a:srgbClr val="194B75"/>
                </a:solidFill>
                <a:latin typeface="Arial" panose="020B0604020202020204" pitchFamily="34" charset="0"/>
              </a:rPr>
              <a:t>қыркүйек</a:t>
            </a:r>
            <a:endParaRPr lang="ru-RU" altLang="ru-RU" sz="1800" b="1" dirty="0">
              <a:solidFill>
                <a:srgbClr val="194B75"/>
              </a:solidFill>
              <a:latin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CAE5FE0-3045-466B-80BC-B7BC6F20E385}"/>
              </a:ext>
            </a:extLst>
          </p:cNvPr>
          <p:cNvSpPr txBox="1"/>
          <p:nvPr/>
        </p:nvSpPr>
        <p:spPr>
          <a:xfrm>
            <a:off x="136643" y="37708"/>
            <a:ext cx="13170204" cy="461649"/>
          </a:xfrm>
          <a:prstGeom prst="rect">
            <a:avLst/>
          </a:prstGeom>
          <a:noFill/>
        </p:spPr>
        <p:txBody>
          <a:bodyPr wrap="square" lIns="91396" tIns="45697" rIns="91396" bIns="45697">
            <a:spAutoFit/>
          </a:bodyPr>
          <a:lstStyle/>
          <a:p>
            <a:pPr algn="ctr" defTabSz="101449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400" b="1" dirty="0" err="1" smtClean="0">
                <a:solidFill>
                  <a:srgbClr val="194B7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altLang="ru-RU" sz="2400" b="1" dirty="0" smtClean="0">
                <a:solidFill>
                  <a:srgbClr val="194B7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400" b="1" dirty="0" err="1" smtClean="0">
                <a:solidFill>
                  <a:srgbClr val="194B7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altLang="ru-RU" sz="2400" b="1" dirty="0" smtClean="0">
                <a:solidFill>
                  <a:srgbClr val="194B7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400" b="1" dirty="0" err="1" smtClean="0">
                <a:solidFill>
                  <a:srgbClr val="194B7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altLang="ru-RU" sz="2400" b="1" dirty="0" smtClean="0">
                <a:solidFill>
                  <a:srgbClr val="194B7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экономика  </a:t>
            </a:r>
            <a:r>
              <a:rPr lang="ru-RU" altLang="ru-RU" sz="2400" b="1" dirty="0" err="1" smtClean="0">
                <a:solidFill>
                  <a:srgbClr val="194B7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рлігі</a:t>
            </a:r>
            <a:endParaRPr lang="ru-RU" altLang="ru-RU" sz="2400" b="1" dirty="0">
              <a:solidFill>
                <a:srgbClr val="194B7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4">
            <a:extLst>
              <a:ext uri="{FF2B5EF4-FFF2-40B4-BE49-F238E27FC236}">
                <a16:creationId xmlns:a16="http://schemas.microsoft.com/office/drawing/2014/main" id="{EA19B673-C9B5-A359-A599-5CE351382F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7391" y="5745705"/>
            <a:ext cx="13099456" cy="815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ru-RU" altLang="ru-RU" sz="2000" b="1" dirty="0">
                <a:solidFill>
                  <a:srgbClr val="194B75"/>
                </a:solidFill>
                <a:latin typeface="Arial" panose="020B0604020202020204" pitchFamily="34" charset="0"/>
              </a:rPr>
              <a:t>ӘЛЕУМЕТТІК-ЭКОНОМИКАЛЫҚ </a:t>
            </a:r>
            <a:r>
              <a:rPr lang="ru-RU" altLang="ru-RU" sz="2000" b="1" dirty="0" smtClean="0">
                <a:solidFill>
                  <a:srgbClr val="194B75"/>
                </a:solidFill>
                <a:latin typeface="Arial" panose="020B0604020202020204" pitchFamily="34" charset="0"/>
              </a:rPr>
              <a:t>ДАМУ</a:t>
            </a:r>
            <a:r>
              <a:rPr lang="kk-KZ" altLang="ru-RU" sz="2000" b="1" dirty="0" smtClean="0">
                <a:solidFill>
                  <a:srgbClr val="194B75"/>
                </a:solidFill>
                <a:latin typeface="Arial" panose="020B0604020202020204" pitchFamily="34" charset="0"/>
              </a:rPr>
              <a:t>ДЫҢ</a:t>
            </a:r>
            <a:r>
              <a:rPr lang="ru-RU" altLang="ru-RU" sz="2000" b="1" dirty="0" smtClean="0">
                <a:solidFill>
                  <a:srgbClr val="194B75"/>
                </a:solidFill>
                <a:latin typeface="Arial" panose="020B0604020202020204" pitchFamily="34" charset="0"/>
              </a:rPr>
              <a:t> </a:t>
            </a:r>
            <a:r>
              <a:rPr lang="ru-RU" altLang="ru-RU" sz="2000" b="1" dirty="0">
                <a:solidFill>
                  <a:srgbClr val="194B75"/>
                </a:solidFill>
                <a:latin typeface="Arial" panose="020B0604020202020204" pitchFamily="34" charset="0"/>
              </a:rPr>
              <a:t>2024 – 2028 ЖЫЛДАРҒА АРНАЛҒАН </a:t>
            </a:r>
            <a:r>
              <a:rPr lang="ru-RU" altLang="ru-RU" sz="2000" b="1" dirty="0" smtClean="0">
                <a:solidFill>
                  <a:srgbClr val="194B75"/>
                </a:solidFill>
                <a:latin typeface="Arial" panose="020B0604020202020204" pitchFamily="34" charset="0"/>
              </a:rPr>
              <a:t>БОЛЖАМЫ ТУРАЛЫ </a:t>
            </a:r>
            <a:endParaRPr lang="kk-KZ" altLang="ru-RU" sz="2000" b="1" dirty="0">
              <a:solidFill>
                <a:srgbClr val="194B75"/>
              </a:solidFill>
              <a:latin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kk-KZ" altLang="ru-RU" sz="2000" b="1" dirty="0" smtClean="0">
                <a:solidFill>
                  <a:srgbClr val="194B75"/>
                </a:solidFill>
                <a:latin typeface="Arial" panose="020B0604020202020204" pitchFamily="34" charset="0"/>
              </a:rPr>
              <a:t>ҰЛТТЫҚ ҚОРДАН 2024 – 2026 ЖЫЛДАРҒА АРНАЛҒАН КЕПІЛДЕНДІРІЛГЕН ТРАНСФЕРТ ТУРАЛЫ</a:t>
            </a:r>
            <a:endParaRPr lang="kk-KZ" altLang="ru-RU" sz="2000" b="1" dirty="0">
              <a:solidFill>
                <a:srgbClr val="194B75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403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5057E29A-F5A0-B872-B463-499D85E7B0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844905"/>
              </p:ext>
            </p:extLst>
          </p:nvPr>
        </p:nvGraphicFramePr>
        <p:xfrm>
          <a:off x="746320" y="1179906"/>
          <a:ext cx="11951120" cy="5896865"/>
        </p:xfrm>
        <a:graphic>
          <a:graphicData uri="http://schemas.openxmlformats.org/drawingml/2006/table">
            <a:tbl>
              <a:tblPr/>
              <a:tblGrid>
                <a:gridCol w="44420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15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515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515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515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5151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5151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77425">
                <a:tc>
                  <a:txBody>
                    <a:bodyPr/>
                    <a:lstStyle/>
                    <a:p>
                      <a:endParaRPr lang="ru-RU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7805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ғалау </a:t>
                      </a:r>
                      <a:endParaRPr lang="ru-RU" sz="1600" b="1" i="0" u="none" strike="noStrike" kern="1200" dirty="0">
                        <a:solidFill>
                          <a:schemeClr val="bg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marL="0" marR="0" indent="0" algn="ctr" defTabSz="7805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dirty="0" smtClean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олжам </a:t>
                      </a:r>
                      <a:endParaRPr lang="ru-RU" sz="1600" b="1" i="0" u="none" strike="noStrike" kern="1200" dirty="0">
                        <a:solidFill>
                          <a:schemeClr val="bg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7805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i="0" u="none" strike="noStrike" kern="1200" dirty="0">
                        <a:solidFill>
                          <a:schemeClr val="bg2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7425">
                <a:tc>
                  <a:txBody>
                    <a:bodyPr/>
                    <a:lstStyle/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780970" rtl="0" eaLnBrk="1" fontAlgn="ctr" latinLnBrk="0" hangingPunct="1"/>
                      <a:r>
                        <a:rPr lang="ru-RU" sz="16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3</a:t>
                      </a:r>
                      <a:r>
                        <a:rPr lang="en-US" sz="16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ru-RU" sz="1600" b="1" i="0" u="none" strike="noStrike" kern="1200" dirty="0">
                        <a:solidFill>
                          <a:schemeClr val="bg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780970" rtl="0" eaLnBrk="1" fontAlgn="ctr" latinLnBrk="0" hangingPunct="1"/>
                      <a:r>
                        <a:rPr lang="ru-RU" sz="16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4</a:t>
                      </a:r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780970" rtl="0" eaLnBrk="1" fontAlgn="ctr" latinLnBrk="0" hangingPunct="1"/>
                      <a:r>
                        <a:rPr lang="ru-RU" sz="16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5</a:t>
                      </a:r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780970" rtl="0" eaLnBrk="1" fontAlgn="ctr" latinLnBrk="0" hangingPunct="1"/>
                      <a:r>
                        <a:rPr lang="ru-RU" sz="16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6</a:t>
                      </a:r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780970" rtl="0" eaLnBrk="1" fontAlgn="ctr" latinLnBrk="0" hangingPunct="1"/>
                      <a:r>
                        <a:rPr lang="ru-RU" sz="16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7</a:t>
                      </a:r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780970" rtl="0" eaLnBrk="1" fontAlgn="ctr" latinLnBrk="0" hangingPunct="1"/>
                      <a:r>
                        <a:rPr lang="ru-RU" sz="16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8</a:t>
                      </a:r>
                    </a:p>
                  </a:txBody>
                  <a:tcPr marL="5973" marR="5973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1" i="0" u="none" strike="noStrike" dirty="0" err="1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ent</a:t>
                      </a:r>
                      <a:r>
                        <a:rPr lang="ru-RU" sz="16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i="0" u="none" strike="noStrike" dirty="0" err="1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ұнайының</a:t>
                      </a:r>
                      <a:r>
                        <a:rPr lang="ru-RU" sz="1600" b="1" i="0" u="none" strike="noStrike" baseline="0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i="0" u="none" strike="noStrike" baseline="0" dirty="0" err="1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ғасы</a:t>
                      </a:r>
                      <a:r>
                        <a:rPr lang="ru-RU" sz="16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 </a:t>
                      </a:r>
                      <a:r>
                        <a:rPr lang="ru-RU" sz="1600" b="0" i="0" u="none" strike="noStrike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/баррель</a:t>
                      </a:r>
                      <a:endParaRPr lang="ru-RU" sz="1600" b="1" i="0" u="none" strike="noStrike" dirty="0">
                        <a:solidFill>
                          <a:srgbClr val="0070C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1" i="0" u="none" strike="noStrike" kern="1200" dirty="0" err="1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Есеп</a:t>
                      </a:r>
                      <a:r>
                        <a:rPr lang="ru-RU" sz="1600" b="1" i="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i="0" u="none" strike="noStrike" kern="1200" dirty="0" err="1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йырысу</a:t>
                      </a:r>
                      <a:r>
                        <a:rPr lang="ru-RU" sz="1600" b="1" i="0" u="none" strike="noStrike" kern="1200" baseline="0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i="0" u="none" strike="noStrike" kern="1200" baseline="0" dirty="0" err="1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ғамы</a:t>
                      </a:r>
                      <a:r>
                        <a:rPr lang="ru-RU" sz="1600" b="1" i="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600" b="0" i="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теңге/$</a:t>
                      </a:r>
                      <a:endParaRPr lang="ru-RU" sz="1600" b="0" i="0" u="none" strike="noStrike" kern="1200" dirty="0">
                        <a:solidFill>
                          <a:srgbClr val="0070C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5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593186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780581" rtl="0" eaLnBrk="1" fontAlgn="ctr" latinLnBrk="0" hangingPunct="1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нфляция, %</a:t>
                      </a: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-1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-8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,5-7,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99398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780581" rtl="0" eaLnBrk="1" fontAlgn="ctr" latinLnBrk="0" hangingPunct="1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ұнай</a:t>
                      </a:r>
                      <a:r>
                        <a:rPr lang="ru-RU" sz="16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өндіру көлемі</a:t>
                      </a:r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млн </a:t>
                      </a:r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онн</a:t>
                      </a: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0,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5,4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3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9,4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1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2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080698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1" i="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ІӨ, </a:t>
                      </a:r>
                      <a:r>
                        <a:rPr lang="ru-RU" sz="16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рд теңге</a:t>
                      </a:r>
                      <a:endParaRPr lang="ru-RU" sz="1600" b="1" i="0" u="none" strike="noStrike" dirty="0">
                        <a:solidFill>
                          <a:srgbClr val="0070C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9 124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5 01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3 03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2 59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4 228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8 453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7425">
                <a:tc>
                  <a:txBody>
                    <a:bodyPr/>
                    <a:lstStyle/>
                    <a:p>
                      <a:pPr marL="0" marR="0" indent="0" algn="l" defTabSz="78058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ІӨ, </a:t>
                      </a:r>
                      <a:r>
                        <a:rPr lang="ru-RU" sz="16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рд </a:t>
                      </a:r>
                      <a:r>
                        <a:rPr lang="ru-RU" sz="1600" b="0" i="0" u="none" strike="noStrike" kern="1200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</a:t>
                      </a: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4,7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3,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32,7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5,2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2,2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4,9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4689065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ІӨ-</a:t>
                      </a:r>
                      <a:r>
                        <a:rPr lang="ru-RU" sz="1600" b="1" i="0" u="none" strike="noStrike" dirty="0" err="1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ің</a:t>
                      </a:r>
                      <a:r>
                        <a:rPr lang="ru-RU" sz="16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қты өсуі</a:t>
                      </a:r>
                      <a:r>
                        <a:rPr lang="ru-RU" sz="16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b="0" i="0" u="none" strike="noStrike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600" b="1" i="0" u="none" strike="noStrike" dirty="0">
                        <a:solidFill>
                          <a:srgbClr val="0070C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7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,3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,6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6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6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6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68753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н басына шаққандағы ЖІӨ</a:t>
                      </a:r>
                      <a:r>
                        <a:rPr lang="ru-RU" sz="1600" b="0" i="1" u="none" strike="noStrike" kern="1200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b="0" i="1" u="none" strike="noStrike" kern="1200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</a:t>
                      </a:r>
                    </a:p>
                  </a:txBody>
                  <a:tcPr marL="180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 306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 567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 314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 18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 233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1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 50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уыл шаруашылығы</a:t>
                      </a:r>
                      <a:r>
                        <a:rPr lang="ru-RU" sz="16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36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9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2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3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6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,4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неркәсіп</a:t>
                      </a:r>
                      <a:r>
                        <a:rPr lang="ru-RU" sz="16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</a:t>
                      </a:r>
                    </a:p>
                  </a:txBody>
                  <a:tcPr marL="36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9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3</a:t>
                      </a:r>
                    </a:p>
                  </a:txBody>
                  <a:tcPr marL="0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,8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,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lvl="0" algn="l" rtl="0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у-</a:t>
                      </a:r>
                      <a:r>
                        <a:rPr lang="ru-RU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ен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өндіру</a:t>
                      </a:r>
                      <a:r>
                        <a:rPr lang="ru-RU" sz="16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</a:t>
                      </a:r>
                    </a:p>
                  </a:txBody>
                  <a:tcPr marL="180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,9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7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7,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,8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1,6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1,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ңдеу</a:t>
                      </a:r>
                      <a:r>
                        <a:rPr lang="ru-RU" sz="16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180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2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,2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,4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,3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,4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ұрылыс</a:t>
                      </a:r>
                      <a:r>
                        <a:rPr lang="ru-RU" sz="16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36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7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8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8,1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9,2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9,3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9,3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6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36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,4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6,5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6,9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7,8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7,9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8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77425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лік</a:t>
                      </a:r>
                      <a:r>
                        <a:rPr lang="ru-RU" sz="1600" b="0" i="0" u="none" strike="noStrike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600" b="0" i="0" u="none" strike="noStrike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36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,0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,6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,7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6,2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6,3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6,4</a:t>
                      </a:r>
                    </a:p>
                  </a:txBody>
                  <a:tcPr marL="9525" marR="36000" marT="9525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25876">
                <a:tc gridSpan="7"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ctr"/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116739119"/>
                  </a:ext>
                </a:extLst>
              </a:tr>
              <a:tr h="263691">
                <a:tc gridSpan="7">
                  <a:txBody>
                    <a:bodyPr/>
                    <a:lstStyle/>
                    <a:p>
                      <a:pPr marL="0" marR="0" indent="0" algn="ctr" defTabSz="7805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ыртқы сауда айналымы </a:t>
                      </a:r>
                      <a:endParaRPr lang="ru-RU" sz="1600" b="1" i="0" u="none" strike="noStrike" dirty="0">
                        <a:solidFill>
                          <a:schemeClr val="bg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525" marR="9525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63691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уарлар экспорты</a:t>
                      </a:r>
                      <a:r>
                        <a:rPr lang="ru-RU" sz="1600" b="0" i="0" u="none" strike="noStrike" kern="1200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млрд $ </a:t>
                      </a:r>
                      <a:r>
                        <a:rPr lang="ru-RU" sz="1200" b="0" i="1" u="none" strike="noStrike" kern="1200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ҰЭМ</a:t>
                      </a:r>
                      <a:r>
                        <a:rPr lang="ru-RU" sz="1200" b="0" i="1" u="none" strike="noStrike" kern="1200" baseline="0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бағасы</a:t>
                      </a:r>
                      <a:r>
                        <a:rPr lang="ru-RU" sz="1200" b="0" i="1" u="none" strike="noStrike" kern="1200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lang="ru-RU" sz="1200" b="0" i="0" u="none" strike="noStrike" kern="1200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9,7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3,1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9,7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8,9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1,8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4,8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263691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уарлар  импорты</a:t>
                      </a:r>
                      <a:r>
                        <a:rPr lang="ru-RU" sz="1600" b="0" i="0" u="none" strike="noStrike" kern="1200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млрд $ </a:t>
                      </a:r>
                      <a:r>
                        <a:rPr lang="ru-RU" sz="1200" b="0" i="1" u="none" strike="noStrike" kern="1200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ҰБ</a:t>
                      </a:r>
                      <a:r>
                        <a:rPr lang="ru-RU" sz="1200" b="0" i="1" u="none" strike="noStrike" kern="1200" baseline="0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бағасы</a:t>
                      </a:r>
                      <a:r>
                        <a:rPr lang="ru-RU" sz="1200" b="0" i="1" u="none" strike="noStrike" kern="1200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lang="ru-RU" sz="1600" b="0" i="1" u="none" strike="noStrike" kern="1200" dirty="0">
                        <a:solidFill>
                          <a:srgbClr val="7F7F7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,2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0,7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1,3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2,5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,0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5,6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63691">
                <a:tc>
                  <a:txBody>
                    <a:bodyPr/>
                    <a:lstStyle>
                      <a:lvl1pPr marL="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48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970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1454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93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242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2908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3392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3875" algn="l" defTabSz="780970" rtl="0" eaLnBrk="1" latinLnBrk="0" hangingPunct="1">
                        <a:defRPr sz="1537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l" rtl="0" fontAlgn="ctr"/>
                      <a:r>
                        <a:rPr lang="ru-RU" sz="1600" b="0" i="0" u="none" strike="noStrike" dirty="0" smtClean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 теңгерімі сальдосы</a:t>
                      </a:r>
                      <a:r>
                        <a:rPr lang="ru-RU" sz="1600" b="0" i="0" u="none" strike="noStrike" kern="1200" dirty="0" smtClean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млрд </a:t>
                      </a:r>
                      <a:r>
                        <a:rPr lang="ru-RU" sz="1600" b="0" i="0" u="none" strike="noStrike" kern="1200" dirty="0">
                          <a:solidFill>
                            <a:srgbClr val="7F7F7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$</a:t>
                      </a:r>
                    </a:p>
                  </a:txBody>
                  <a:tcPr marL="72000" marR="0" marT="0" marB="0" anchor="ctr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,5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,4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,4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,4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,8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kern="1200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,2</a:t>
                      </a:r>
                    </a:p>
                  </a:txBody>
                  <a:tcPr marL="9525" marR="36000" marT="9525" marB="0" anchor="b">
                    <a:lnL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C986F002-251E-4842-8EAB-C1387EFEFEAD}"/>
              </a:ext>
            </a:extLst>
          </p:cNvPr>
          <p:cNvSpPr txBox="1">
            <a:spLocks/>
          </p:cNvSpPr>
          <p:nvPr/>
        </p:nvSpPr>
        <p:spPr>
          <a:xfrm>
            <a:off x="746322" y="146304"/>
            <a:ext cx="11951123" cy="73152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780581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70000"/>
              <a:buFontTx/>
              <a:buNone/>
              <a:defRPr sz="18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5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79912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359824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0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i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7805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Pct val="70000"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Макрокөрсеткіштерді болжау сценарийі</a:t>
            </a: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  <a:p>
            <a:pPr marL="0" marR="0" lvl="0" indent="0" algn="l" defTabSz="7805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Pct val="70000"/>
              <a:buFontTx/>
              <a:buNone/>
              <a:tabLst/>
              <a:defRPr/>
            </a:pPr>
            <a:r>
              <a:rPr kumimoji="0" lang="ru-RU" sz="16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</a:rPr>
              <a:t>(базалық сценарий: мұнай бағасы </a:t>
            </a:r>
            <a:r>
              <a:rPr kumimoji="0" lang="kk-KZ" sz="16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80</a:t>
            </a:r>
            <a:r>
              <a:rPr kumimoji="0" lang="ru-RU" sz="16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</a:rPr>
              <a:t> $/баррель, бағам </a:t>
            </a:r>
            <a:r>
              <a:rPr kumimoji="0" lang="ru-RU" sz="16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</a:rPr>
              <a:t>460</a:t>
            </a:r>
            <a:r>
              <a:rPr kumimoji="0" lang="ru-RU" sz="16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</a:rPr>
              <a:t> теңге/</a:t>
            </a:r>
            <a:r>
              <a:rPr kumimoji="0" lang="en-US" sz="16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</a:rPr>
              <a:t>$</a:t>
            </a:r>
            <a:r>
              <a:rPr kumimoji="0" lang="ru-RU" sz="16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</a:rPr>
              <a:t>)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8498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C986F002-251E-4842-8EAB-C1387EFEFEAD}"/>
              </a:ext>
            </a:extLst>
          </p:cNvPr>
          <p:cNvSpPr txBox="1">
            <a:spLocks/>
          </p:cNvSpPr>
          <p:nvPr/>
        </p:nvSpPr>
        <p:spPr>
          <a:xfrm>
            <a:off x="746322" y="252000"/>
            <a:ext cx="11951123" cy="46513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780581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70000"/>
              <a:buFontTx/>
              <a:buNone/>
              <a:defRPr sz="18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5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79912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359824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0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i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7805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Pct val="70000"/>
              <a:buFontTx/>
              <a:buNone/>
              <a:tabLst/>
              <a:defRPr/>
            </a:pPr>
            <a:r>
              <a:rPr kumimoji="0" lang="kk-KZ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</a:rPr>
              <a:t>Республикалық бюджет пен Ұлттық қордың параметрлерін айқындау кезіндегі негізгі міндеттер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graphicFrame>
        <p:nvGraphicFramePr>
          <p:cNvPr id="42" name="Таблица 41">
            <a:extLst>
              <a:ext uri="{FF2B5EF4-FFF2-40B4-BE49-F238E27FC236}">
                <a16:creationId xmlns:a16="http://schemas.microsoft.com/office/drawing/2014/main" id="{52D69EB0-C97C-B552-DFE6-30D391CAFF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6706257"/>
              </p:ext>
            </p:extLst>
          </p:nvPr>
        </p:nvGraphicFramePr>
        <p:xfrm>
          <a:off x="1241811" y="1288551"/>
          <a:ext cx="10532467" cy="4982571"/>
        </p:xfrm>
        <a:graphic>
          <a:graphicData uri="http://schemas.openxmlformats.org/drawingml/2006/table">
            <a:tbl>
              <a:tblPr firstRow="1" bandRow="1"/>
              <a:tblGrid>
                <a:gridCol w="265062">
                  <a:extLst>
                    <a:ext uri="{9D8B030D-6E8A-4147-A177-3AD203B41FA5}">
                      <a16:colId xmlns:a16="http://schemas.microsoft.com/office/drawing/2014/main" val="3107607943"/>
                    </a:ext>
                  </a:extLst>
                </a:gridCol>
                <a:gridCol w="10267405">
                  <a:extLst>
                    <a:ext uri="{9D8B030D-6E8A-4147-A177-3AD203B41FA5}">
                      <a16:colId xmlns:a16="http://schemas.microsoft.com/office/drawing/2014/main" val="3533964584"/>
                    </a:ext>
                  </a:extLst>
                </a:gridCol>
              </a:tblGrid>
              <a:tr h="1660857">
                <a:tc>
                  <a:txBody>
                    <a:bodyPr/>
                    <a:lstStyle>
                      <a:lvl1pPr marL="0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90291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780581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170873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561165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951454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341745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732037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122326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770072" rtl="0" eaLnBrk="1" latinLnBrk="0" hangingPunct="1"/>
                      <a:endParaRPr lang="ru-RU" sz="8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90291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780581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170873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561165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951454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341745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732037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122326" algn="l" defTabSz="780581" rtl="0" eaLnBrk="1" latinLnBrk="0" hangingPunct="1">
                        <a:defRPr sz="1500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776222" rtl="0" eaLnBrk="1" latinLnBrk="0" hangingPunct="1"/>
                      <a:r>
                        <a:rPr lang="ru-RU" sz="2600" b="0" kern="1200" cap="small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юджеттік</a:t>
                      </a:r>
                      <a:r>
                        <a:rPr lang="ru-RU" sz="2600" b="0" kern="1200" cap="small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араметрлердің</a:t>
                      </a:r>
                      <a:r>
                        <a:rPr lang="ru-RU" sz="2600" b="0" kern="1200" cap="small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ұрақтылығын</a:t>
                      </a:r>
                      <a:r>
                        <a:rPr lang="ru-RU" sz="2600" b="0" kern="1200" cap="small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амтамасыз</a:t>
                      </a:r>
                      <a:r>
                        <a:rPr lang="ru-RU" sz="2600" b="0" kern="1200" cap="small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ету</a:t>
                      </a:r>
                      <a:r>
                        <a:rPr lang="ru-RU" sz="2600" b="0" kern="1200" cap="small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2600" b="0" kern="1200" cap="small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ұлттық</a:t>
                      </a:r>
                      <a:r>
                        <a:rPr lang="ru-RU" sz="2600" b="0" kern="1200" cap="small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ордың</a:t>
                      </a:r>
                      <a:r>
                        <a:rPr lang="ru-RU" sz="2600" b="0" kern="1200" cap="small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инақ</a:t>
                      </a:r>
                      <a:r>
                        <a:rPr lang="ru-RU" sz="2600" b="0" kern="1200" cap="small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ункциясын</a:t>
                      </a:r>
                      <a:r>
                        <a:rPr lang="ru-RU" sz="2600" b="0" kern="1200" cap="small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үшейту</a:t>
                      </a:r>
                      <a:endParaRPr lang="ru-RU" sz="2600" b="0" kern="1200" cap="small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anchor="ctr">
                    <a:lnL w="31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0607094"/>
                  </a:ext>
                </a:extLst>
              </a:tr>
              <a:tr h="1660857">
                <a:tc>
                  <a:txBody>
                    <a:bodyPr/>
                    <a:lstStyle>
                      <a:lvl1pPr marL="0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90291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780581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170873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561165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951454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341745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732037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122326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770072" rtl="0" eaLnBrk="1" latinLnBrk="0" hangingPunct="1"/>
                      <a:endParaRPr lang="ru-RU" sz="8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90291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780581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170873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561165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951454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341745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732037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122326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776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600" b="0" kern="1200" cap="small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рта </a:t>
                      </a:r>
                      <a:r>
                        <a:rPr lang="ru-RU" sz="2600" b="0" kern="1200" cap="small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2600" b="0" kern="1200" cap="small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ұзақ</a:t>
                      </a:r>
                      <a:r>
                        <a:rPr lang="ru-RU" sz="2600" b="0" kern="1200" cap="small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ерзімді</a:t>
                      </a:r>
                      <a:r>
                        <a:rPr lang="ru-RU" sz="2600" b="0" kern="1200" cap="small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езеңде</a:t>
                      </a:r>
                      <a:r>
                        <a:rPr lang="ru-RU" sz="2600" b="0" kern="1200" cap="small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бюджет</a:t>
                      </a:r>
                      <a:r>
                        <a:rPr lang="ru-RU" sz="2600" b="0" kern="1200" cap="small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аясатының</a:t>
                      </a:r>
                      <a:r>
                        <a:rPr lang="ru-RU" sz="2600" b="0" kern="1200" cap="small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ықтимал</a:t>
                      </a:r>
                      <a:r>
                        <a:rPr lang="ru-RU" sz="2600" b="0" kern="1200" cap="small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әуекелдерін</a:t>
                      </a:r>
                      <a:r>
                        <a:rPr lang="ru-RU" sz="2600" b="0" kern="1200" cap="small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ғалауды</a:t>
                      </a:r>
                      <a:r>
                        <a:rPr lang="ru-RU" sz="2600" b="0" kern="1200" cap="small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үзеге</a:t>
                      </a:r>
                      <a:r>
                        <a:rPr lang="ru-RU" sz="2600" b="0" kern="1200" cap="small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сыру</a:t>
                      </a:r>
                      <a:endParaRPr lang="ru-RU" sz="2600" b="0" kern="1200" cap="small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9698962"/>
                  </a:ext>
                </a:extLst>
              </a:tr>
              <a:tr h="1660857">
                <a:tc>
                  <a:txBody>
                    <a:bodyPr/>
                    <a:lstStyle>
                      <a:lvl1pPr marL="0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90291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780581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170873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561165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951454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341745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732037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122326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770072" rtl="0" eaLnBrk="1" latinLnBrk="0" hangingPunct="1"/>
                      <a:endParaRPr lang="ru-RU" sz="8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390291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780581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170873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561165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1951454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341745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2732037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122326" algn="l" defTabSz="780581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77622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600" b="0" kern="1200" cap="small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емлекеттік</a:t>
                      </a:r>
                      <a:r>
                        <a:rPr lang="ru-RU" sz="2600" b="0" kern="1200" cap="small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аржының</a:t>
                      </a:r>
                      <a:r>
                        <a:rPr lang="ru-RU" sz="2600" b="0" kern="1200" cap="small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ысаналы</a:t>
                      </a:r>
                      <a:r>
                        <a:rPr lang="ru-RU" sz="2600" b="0" kern="1200" cap="small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ғдарларының</a:t>
                      </a:r>
                      <a:r>
                        <a:rPr lang="ru-RU" sz="2600" b="0" kern="1200" cap="small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ңгерімділігін</a:t>
                      </a:r>
                      <a:r>
                        <a:rPr lang="ru-RU" sz="2600" b="0" kern="1200" cap="small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алпына</a:t>
                      </a:r>
                      <a:r>
                        <a:rPr lang="ru-RU" sz="2600" b="0" kern="1200" cap="small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600" b="0" kern="1200" cap="small" baseline="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елтіру</a:t>
                      </a:r>
                      <a:endParaRPr lang="ru-RU" sz="2600" b="0" kern="1200" cap="small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B9BD5">
                          <a:lumMod val="75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1243684"/>
                  </a:ext>
                </a:extLst>
              </a:tr>
            </a:tbl>
          </a:graphicData>
        </a:graphic>
      </p:graphicFrame>
      <p:grpSp>
        <p:nvGrpSpPr>
          <p:cNvPr id="44" name="Group 201">
            <a:extLst>
              <a:ext uri="{FF2B5EF4-FFF2-40B4-BE49-F238E27FC236}">
                <a16:creationId xmlns:a16="http://schemas.microsoft.com/office/drawing/2014/main" id="{535F72F0-9ADD-451C-D473-5E00E1F77DEB}"/>
              </a:ext>
            </a:extLst>
          </p:cNvPr>
          <p:cNvGrpSpPr/>
          <p:nvPr/>
        </p:nvGrpSpPr>
        <p:grpSpPr>
          <a:xfrm>
            <a:off x="746322" y="1927576"/>
            <a:ext cx="468000" cy="468000"/>
            <a:chOff x="-183939" y="-926831"/>
            <a:chExt cx="3258938" cy="4319887"/>
          </a:xfrm>
          <a:solidFill>
            <a:srgbClr val="2E75B6">
              <a:alpha val="94902"/>
            </a:srgbClr>
          </a:solidFill>
        </p:grpSpPr>
        <p:sp>
          <p:nvSpPr>
            <p:cNvPr id="45" name="Freeform 34">
              <a:extLst>
                <a:ext uri="{FF2B5EF4-FFF2-40B4-BE49-F238E27FC236}">
                  <a16:creationId xmlns:a16="http://schemas.microsoft.com/office/drawing/2014/main" id="{097DC4FC-6264-F6E4-1A24-C6A7B0964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94" y="-926831"/>
              <a:ext cx="2864747" cy="2512561"/>
            </a:xfrm>
            <a:custGeom>
              <a:avLst/>
              <a:gdLst>
                <a:gd name="T0" fmla="*/ 180 w 1800"/>
                <a:gd name="T1" fmla="*/ 960 h 1200"/>
                <a:gd name="T2" fmla="*/ 305 w 1800"/>
                <a:gd name="T3" fmla="*/ 909 h 1200"/>
                <a:gd name="T4" fmla="*/ 482 w 1800"/>
                <a:gd name="T5" fmla="*/ 998 h 1200"/>
                <a:gd name="T6" fmla="*/ 480 w 1800"/>
                <a:gd name="T7" fmla="*/ 1020 h 1200"/>
                <a:gd name="T8" fmla="*/ 660 w 1800"/>
                <a:gd name="T9" fmla="*/ 1200 h 1200"/>
                <a:gd name="T10" fmla="*/ 840 w 1800"/>
                <a:gd name="T11" fmla="*/ 1020 h 1200"/>
                <a:gd name="T12" fmla="*/ 822 w 1800"/>
                <a:gd name="T13" fmla="*/ 943 h 1200"/>
                <a:gd name="T14" fmla="*/ 1063 w 1800"/>
                <a:gd name="T15" fmla="*/ 702 h 1200"/>
                <a:gd name="T16" fmla="*/ 1140 w 1800"/>
                <a:gd name="T17" fmla="*/ 720 h 1200"/>
                <a:gd name="T18" fmla="*/ 1320 w 1800"/>
                <a:gd name="T19" fmla="*/ 540 h 1200"/>
                <a:gd name="T20" fmla="*/ 1311 w 1800"/>
                <a:gd name="T21" fmla="*/ 487 h 1200"/>
                <a:gd name="T22" fmla="*/ 1520 w 1800"/>
                <a:gd name="T23" fmla="*/ 330 h 1200"/>
                <a:gd name="T24" fmla="*/ 1620 w 1800"/>
                <a:gd name="T25" fmla="*/ 360 h 1200"/>
                <a:gd name="T26" fmla="*/ 1800 w 1800"/>
                <a:gd name="T27" fmla="*/ 180 h 1200"/>
                <a:gd name="T28" fmla="*/ 1620 w 1800"/>
                <a:gd name="T29" fmla="*/ 0 h 1200"/>
                <a:gd name="T30" fmla="*/ 1440 w 1800"/>
                <a:gd name="T31" fmla="*/ 180 h 1200"/>
                <a:gd name="T32" fmla="*/ 1449 w 1800"/>
                <a:gd name="T33" fmla="*/ 233 h 1200"/>
                <a:gd name="T34" fmla="*/ 1240 w 1800"/>
                <a:gd name="T35" fmla="*/ 390 h 1200"/>
                <a:gd name="T36" fmla="*/ 1140 w 1800"/>
                <a:gd name="T37" fmla="*/ 360 h 1200"/>
                <a:gd name="T38" fmla="*/ 960 w 1800"/>
                <a:gd name="T39" fmla="*/ 540 h 1200"/>
                <a:gd name="T40" fmla="*/ 978 w 1800"/>
                <a:gd name="T41" fmla="*/ 617 h 1200"/>
                <a:gd name="T42" fmla="*/ 737 w 1800"/>
                <a:gd name="T43" fmla="*/ 858 h 1200"/>
                <a:gd name="T44" fmla="*/ 660 w 1800"/>
                <a:gd name="T45" fmla="*/ 840 h 1200"/>
                <a:gd name="T46" fmla="*/ 535 w 1800"/>
                <a:gd name="T47" fmla="*/ 891 h 1200"/>
                <a:gd name="T48" fmla="*/ 358 w 1800"/>
                <a:gd name="T49" fmla="*/ 802 h 1200"/>
                <a:gd name="T50" fmla="*/ 360 w 1800"/>
                <a:gd name="T51" fmla="*/ 780 h 1200"/>
                <a:gd name="T52" fmla="*/ 180 w 1800"/>
                <a:gd name="T53" fmla="*/ 600 h 1200"/>
                <a:gd name="T54" fmla="*/ 0 w 1800"/>
                <a:gd name="T55" fmla="*/ 780 h 1200"/>
                <a:gd name="T56" fmla="*/ 180 w 1800"/>
                <a:gd name="T57" fmla="*/ 960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00" h="1200">
                  <a:moveTo>
                    <a:pt x="180" y="960"/>
                  </a:moveTo>
                  <a:cubicBezTo>
                    <a:pt x="228" y="960"/>
                    <a:pt x="272" y="941"/>
                    <a:pt x="305" y="909"/>
                  </a:cubicBezTo>
                  <a:cubicBezTo>
                    <a:pt x="482" y="998"/>
                    <a:pt x="482" y="998"/>
                    <a:pt x="482" y="998"/>
                  </a:cubicBezTo>
                  <a:cubicBezTo>
                    <a:pt x="481" y="1005"/>
                    <a:pt x="480" y="1013"/>
                    <a:pt x="480" y="1020"/>
                  </a:cubicBezTo>
                  <a:cubicBezTo>
                    <a:pt x="480" y="1119"/>
                    <a:pt x="561" y="1200"/>
                    <a:pt x="660" y="1200"/>
                  </a:cubicBezTo>
                  <a:cubicBezTo>
                    <a:pt x="759" y="1200"/>
                    <a:pt x="840" y="1119"/>
                    <a:pt x="840" y="1020"/>
                  </a:cubicBezTo>
                  <a:cubicBezTo>
                    <a:pt x="840" y="992"/>
                    <a:pt x="833" y="966"/>
                    <a:pt x="822" y="943"/>
                  </a:cubicBezTo>
                  <a:cubicBezTo>
                    <a:pt x="1063" y="702"/>
                    <a:pt x="1063" y="702"/>
                    <a:pt x="1063" y="702"/>
                  </a:cubicBezTo>
                  <a:cubicBezTo>
                    <a:pt x="1086" y="713"/>
                    <a:pt x="1112" y="720"/>
                    <a:pt x="1140" y="720"/>
                  </a:cubicBezTo>
                  <a:cubicBezTo>
                    <a:pt x="1239" y="720"/>
                    <a:pt x="1320" y="639"/>
                    <a:pt x="1320" y="540"/>
                  </a:cubicBezTo>
                  <a:cubicBezTo>
                    <a:pt x="1320" y="521"/>
                    <a:pt x="1316" y="504"/>
                    <a:pt x="1311" y="487"/>
                  </a:cubicBezTo>
                  <a:cubicBezTo>
                    <a:pt x="1520" y="330"/>
                    <a:pt x="1520" y="330"/>
                    <a:pt x="1520" y="330"/>
                  </a:cubicBezTo>
                  <a:cubicBezTo>
                    <a:pt x="1549" y="349"/>
                    <a:pt x="1583" y="360"/>
                    <a:pt x="1620" y="360"/>
                  </a:cubicBezTo>
                  <a:cubicBezTo>
                    <a:pt x="1719" y="360"/>
                    <a:pt x="1800" y="279"/>
                    <a:pt x="1800" y="180"/>
                  </a:cubicBezTo>
                  <a:cubicBezTo>
                    <a:pt x="1800" y="81"/>
                    <a:pt x="1719" y="0"/>
                    <a:pt x="1620" y="0"/>
                  </a:cubicBezTo>
                  <a:cubicBezTo>
                    <a:pt x="1521" y="0"/>
                    <a:pt x="1440" y="81"/>
                    <a:pt x="1440" y="180"/>
                  </a:cubicBezTo>
                  <a:cubicBezTo>
                    <a:pt x="1440" y="199"/>
                    <a:pt x="1444" y="216"/>
                    <a:pt x="1449" y="233"/>
                  </a:cubicBezTo>
                  <a:cubicBezTo>
                    <a:pt x="1240" y="390"/>
                    <a:pt x="1240" y="390"/>
                    <a:pt x="1240" y="390"/>
                  </a:cubicBezTo>
                  <a:cubicBezTo>
                    <a:pt x="1211" y="371"/>
                    <a:pt x="1177" y="360"/>
                    <a:pt x="1140" y="360"/>
                  </a:cubicBezTo>
                  <a:cubicBezTo>
                    <a:pt x="1041" y="360"/>
                    <a:pt x="960" y="441"/>
                    <a:pt x="960" y="540"/>
                  </a:cubicBezTo>
                  <a:cubicBezTo>
                    <a:pt x="960" y="568"/>
                    <a:pt x="967" y="594"/>
                    <a:pt x="978" y="617"/>
                  </a:cubicBezTo>
                  <a:cubicBezTo>
                    <a:pt x="737" y="858"/>
                    <a:pt x="737" y="858"/>
                    <a:pt x="737" y="858"/>
                  </a:cubicBezTo>
                  <a:cubicBezTo>
                    <a:pt x="714" y="847"/>
                    <a:pt x="688" y="840"/>
                    <a:pt x="660" y="840"/>
                  </a:cubicBezTo>
                  <a:cubicBezTo>
                    <a:pt x="612" y="840"/>
                    <a:pt x="568" y="859"/>
                    <a:pt x="535" y="891"/>
                  </a:cubicBezTo>
                  <a:cubicBezTo>
                    <a:pt x="358" y="802"/>
                    <a:pt x="358" y="802"/>
                    <a:pt x="358" y="802"/>
                  </a:cubicBezTo>
                  <a:cubicBezTo>
                    <a:pt x="359" y="795"/>
                    <a:pt x="360" y="787"/>
                    <a:pt x="360" y="780"/>
                  </a:cubicBezTo>
                  <a:cubicBezTo>
                    <a:pt x="360" y="681"/>
                    <a:pt x="279" y="600"/>
                    <a:pt x="180" y="600"/>
                  </a:cubicBezTo>
                  <a:cubicBezTo>
                    <a:pt x="81" y="600"/>
                    <a:pt x="0" y="681"/>
                    <a:pt x="0" y="780"/>
                  </a:cubicBezTo>
                  <a:cubicBezTo>
                    <a:pt x="0" y="879"/>
                    <a:pt x="81" y="960"/>
                    <a:pt x="180" y="96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IN" sz="1800" kern="0">
                <a:solidFill>
                  <a:prstClr val="black"/>
                </a:solidFill>
                <a:latin typeface="Times New Roman"/>
              </a:endParaRPr>
            </a:p>
          </p:txBody>
        </p:sp>
        <p:sp>
          <p:nvSpPr>
            <p:cNvPr id="46" name="Freeform 35">
              <a:extLst>
                <a:ext uri="{FF2B5EF4-FFF2-40B4-BE49-F238E27FC236}">
                  <a16:creationId xmlns:a16="http://schemas.microsoft.com/office/drawing/2014/main" id="{B35FAB76-1D03-EEB7-1367-420F054F9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3939" y="362223"/>
              <a:ext cx="3258938" cy="3030833"/>
            </a:xfrm>
            <a:custGeom>
              <a:avLst/>
              <a:gdLst>
                <a:gd name="T0" fmla="*/ 1988 w 2048"/>
                <a:gd name="T1" fmla="*/ 1328 h 1448"/>
                <a:gd name="T2" fmla="*/ 1924 w 2048"/>
                <a:gd name="T3" fmla="*/ 1328 h 1448"/>
                <a:gd name="T4" fmla="*/ 1924 w 2048"/>
                <a:gd name="T5" fmla="*/ 60 h 1448"/>
                <a:gd name="T6" fmla="*/ 1864 w 2048"/>
                <a:gd name="T7" fmla="*/ 0 h 1448"/>
                <a:gd name="T8" fmla="*/ 1624 w 2048"/>
                <a:gd name="T9" fmla="*/ 0 h 1448"/>
                <a:gd name="T10" fmla="*/ 1564 w 2048"/>
                <a:gd name="T11" fmla="*/ 60 h 1448"/>
                <a:gd name="T12" fmla="*/ 1564 w 2048"/>
                <a:gd name="T13" fmla="*/ 1328 h 1448"/>
                <a:gd name="T14" fmla="*/ 1444 w 2048"/>
                <a:gd name="T15" fmla="*/ 1328 h 1448"/>
                <a:gd name="T16" fmla="*/ 1444 w 2048"/>
                <a:gd name="T17" fmla="*/ 420 h 1448"/>
                <a:gd name="T18" fmla="*/ 1384 w 2048"/>
                <a:gd name="T19" fmla="*/ 360 h 1448"/>
                <a:gd name="T20" fmla="*/ 1144 w 2048"/>
                <a:gd name="T21" fmla="*/ 360 h 1448"/>
                <a:gd name="T22" fmla="*/ 1084 w 2048"/>
                <a:gd name="T23" fmla="*/ 420 h 1448"/>
                <a:gd name="T24" fmla="*/ 1084 w 2048"/>
                <a:gd name="T25" fmla="*/ 1328 h 1448"/>
                <a:gd name="T26" fmla="*/ 964 w 2048"/>
                <a:gd name="T27" fmla="*/ 1328 h 1448"/>
                <a:gd name="T28" fmla="*/ 964 w 2048"/>
                <a:gd name="T29" fmla="*/ 900 h 1448"/>
                <a:gd name="T30" fmla="*/ 904 w 2048"/>
                <a:gd name="T31" fmla="*/ 840 h 1448"/>
                <a:gd name="T32" fmla="*/ 664 w 2048"/>
                <a:gd name="T33" fmla="*/ 840 h 1448"/>
                <a:gd name="T34" fmla="*/ 604 w 2048"/>
                <a:gd name="T35" fmla="*/ 900 h 1448"/>
                <a:gd name="T36" fmla="*/ 604 w 2048"/>
                <a:gd name="T37" fmla="*/ 1328 h 1448"/>
                <a:gd name="T38" fmla="*/ 484 w 2048"/>
                <a:gd name="T39" fmla="*/ 1328 h 1448"/>
                <a:gd name="T40" fmla="*/ 484 w 2048"/>
                <a:gd name="T41" fmla="*/ 660 h 1448"/>
                <a:gd name="T42" fmla="*/ 424 w 2048"/>
                <a:gd name="T43" fmla="*/ 600 h 1448"/>
                <a:gd name="T44" fmla="*/ 184 w 2048"/>
                <a:gd name="T45" fmla="*/ 600 h 1448"/>
                <a:gd name="T46" fmla="*/ 124 w 2048"/>
                <a:gd name="T47" fmla="*/ 660 h 1448"/>
                <a:gd name="T48" fmla="*/ 124 w 2048"/>
                <a:gd name="T49" fmla="*/ 1328 h 1448"/>
                <a:gd name="T50" fmla="*/ 60 w 2048"/>
                <a:gd name="T51" fmla="*/ 1328 h 1448"/>
                <a:gd name="T52" fmla="*/ 0 w 2048"/>
                <a:gd name="T53" fmla="*/ 1388 h 1448"/>
                <a:gd name="T54" fmla="*/ 60 w 2048"/>
                <a:gd name="T55" fmla="*/ 1448 h 1448"/>
                <a:gd name="T56" fmla="*/ 1988 w 2048"/>
                <a:gd name="T57" fmla="*/ 1448 h 1448"/>
                <a:gd name="T58" fmla="*/ 2048 w 2048"/>
                <a:gd name="T59" fmla="*/ 1388 h 1448"/>
                <a:gd name="T60" fmla="*/ 1988 w 2048"/>
                <a:gd name="T61" fmla="*/ 1328 h 1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48" h="1448">
                  <a:moveTo>
                    <a:pt x="1988" y="1328"/>
                  </a:moveTo>
                  <a:cubicBezTo>
                    <a:pt x="1924" y="1328"/>
                    <a:pt x="1924" y="1328"/>
                    <a:pt x="1924" y="1328"/>
                  </a:cubicBezTo>
                  <a:cubicBezTo>
                    <a:pt x="1924" y="60"/>
                    <a:pt x="1924" y="60"/>
                    <a:pt x="1924" y="60"/>
                  </a:cubicBezTo>
                  <a:cubicBezTo>
                    <a:pt x="1924" y="27"/>
                    <a:pt x="1897" y="0"/>
                    <a:pt x="1864" y="0"/>
                  </a:cubicBezTo>
                  <a:cubicBezTo>
                    <a:pt x="1624" y="0"/>
                    <a:pt x="1624" y="0"/>
                    <a:pt x="1624" y="0"/>
                  </a:cubicBezTo>
                  <a:cubicBezTo>
                    <a:pt x="1591" y="0"/>
                    <a:pt x="1564" y="27"/>
                    <a:pt x="1564" y="60"/>
                  </a:cubicBezTo>
                  <a:cubicBezTo>
                    <a:pt x="1564" y="1328"/>
                    <a:pt x="1564" y="1328"/>
                    <a:pt x="1564" y="1328"/>
                  </a:cubicBezTo>
                  <a:cubicBezTo>
                    <a:pt x="1444" y="1328"/>
                    <a:pt x="1444" y="1328"/>
                    <a:pt x="1444" y="1328"/>
                  </a:cubicBezTo>
                  <a:cubicBezTo>
                    <a:pt x="1444" y="420"/>
                    <a:pt x="1444" y="420"/>
                    <a:pt x="1444" y="420"/>
                  </a:cubicBezTo>
                  <a:cubicBezTo>
                    <a:pt x="1444" y="387"/>
                    <a:pt x="1417" y="360"/>
                    <a:pt x="1384" y="360"/>
                  </a:cubicBezTo>
                  <a:cubicBezTo>
                    <a:pt x="1144" y="360"/>
                    <a:pt x="1144" y="360"/>
                    <a:pt x="1144" y="360"/>
                  </a:cubicBezTo>
                  <a:cubicBezTo>
                    <a:pt x="1111" y="360"/>
                    <a:pt x="1084" y="387"/>
                    <a:pt x="1084" y="420"/>
                  </a:cubicBezTo>
                  <a:cubicBezTo>
                    <a:pt x="1084" y="1328"/>
                    <a:pt x="1084" y="1328"/>
                    <a:pt x="1084" y="1328"/>
                  </a:cubicBezTo>
                  <a:cubicBezTo>
                    <a:pt x="964" y="1328"/>
                    <a:pt x="964" y="1328"/>
                    <a:pt x="964" y="1328"/>
                  </a:cubicBezTo>
                  <a:cubicBezTo>
                    <a:pt x="964" y="900"/>
                    <a:pt x="964" y="900"/>
                    <a:pt x="964" y="900"/>
                  </a:cubicBezTo>
                  <a:cubicBezTo>
                    <a:pt x="964" y="867"/>
                    <a:pt x="937" y="840"/>
                    <a:pt x="904" y="840"/>
                  </a:cubicBezTo>
                  <a:cubicBezTo>
                    <a:pt x="664" y="840"/>
                    <a:pt x="664" y="840"/>
                    <a:pt x="664" y="840"/>
                  </a:cubicBezTo>
                  <a:cubicBezTo>
                    <a:pt x="631" y="840"/>
                    <a:pt x="604" y="867"/>
                    <a:pt x="604" y="900"/>
                  </a:cubicBezTo>
                  <a:cubicBezTo>
                    <a:pt x="604" y="1328"/>
                    <a:pt x="604" y="1328"/>
                    <a:pt x="604" y="1328"/>
                  </a:cubicBezTo>
                  <a:cubicBezTo>
                    <a:pt x="484" y="1328"/>
                    <a:pt x="484" y="1328"/>
                    <a:pt x="484" y="1328"/>
                  </a:cubicBezTo>
                  <a:cubicBezTo>
                    <a:pt x="484" y="660"/>
                    <a:pt x="484" y="660"/>
                    <a:pt x="484" y="660"/>
                  </a:cubicBezTo>
                  <a:cubicBezTo>
                    <a:pt x="484" y="627"/>
                    <a:pt x="457" y="600"/>
                    <a:pt x="424" y="600"/>
                  </a:cubicBezTo>
                  <a:cubicBezTo>
                    <a:pt x="184" y="600"/>
                    <a:pt x="184" y="600"/>
                    <a:pt x="184" y="600"/>
                  </a:cubicBezTo>
                  <a:cubicBezTo>
                    <a:pt x="151" y="600"/>
                    <a:pt x="124" y="627"/>
                    <a:pt x="124" y="660"/>
                  </a:cubicBezTo>
                  <a:cubicBezTo>
                    <a:pt x="124" y="1328"/>
                    <a:pt x="124" y="1328"/>
                    <a:pt x="124" y="1328"/>
                  </a:cubicBezTo>
                  <a:cubicBezTo>
                    <a:pt x="60" y="1328"/>
                    <a:pt x="60" y="1328"/>
                    <a:pt x="60" y="1328"/>
                  </a:cubicBezTo>
                  <a:cubicBezTo>
                    <a:pt x="27" y="1328"/>
                    <a:pt x="0" y="1355"/>
                    <a:pt x="0" y="1388"/>
                  </a:cubicBezTo>
                  <a:cubicBezTo>
                    <a:pt x="0" y="1421"/>
                    <a:pt x="27" y="1448"/>
                    <a:pt x="60" y="1448"/>
                  </a:cubicBezTo>
                  <a:cubicBezTo>
                    <a:pt x="1988" y="1448"/>
                    <a:pt x="1988" y="1448"/>
                    <a:pt x="1988" y="1448"/>
                  </a:cubicBezTo>
                  <a:cubicBezTo>
                    <a:pt x="2021" y="1448"/>
                    <a:pt x="2048" y="1421"/>
                    <a:pt x="2048" y="1388"/>
                  </a:cubicBezTo>
                  <a:cubicBezTo>
                    <a:pt x="2048" y="1355"/>
                    <a:pt x="2021" y="1328"/>
                    <a:pt x="1988" y="13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en-IN" sz="1800" kern="0">
                <a:solidFill>
                  <a:prstClr val="black"/>
                </a:solidFill>
                <a:latin typeface="Times New Roman"/>
              </a:endParaRPr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322" y="3563870"/>
            <a:ext cx="547674" cy="48716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949" y="5167564"/>
            <a:ext cx="494011" cy="487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4552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C986F002-251E-4842-8EAB-C1387EFEFEAD}"/>
              </a:ext>
            </a:extLst>
          </p:cNvPr>
          <p:cNvSpPr txBox="1">
            <a:spLocks/>
          </p:cNvSpPr>
          <p:nvPr/>
        </p:nvSpPr>
        <p:spPr>
          <a:xfrm>
            <a:off x="746322" y="252000"/>
            <a:ext cx="11951123" cy="46513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780581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70000"/>
              <a:buFontTx/>
              <a:buNone/>
              <a:defRPr sz="18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5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79912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359824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0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i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 defTabSz="914400" eaLnBrk="0" fontAlgn="base" hangingPunct="0">
              <a:lnSpc>
                <a:spcPct val="90000"/>
              </a:lnSpc>
              <a:spcBef>
                <a:spcPts val="1102"/>
              </a:spcBef>
              <a:spcAft>
                <a:spcPct val="0"/>
              </a:spcAft>
              <a:buClrTx/>
              <a:buSzTx/>
            </a:pPr>
            <a:r>
              <a:rPr lang="ru-RU" sz="2940" b="1" dirty="0" err="1" smtClean="0">
                <a:solidFill>
                  <a:prstClr val="black"/>
                </a:solidFill>
                <a:latin typeface="Arial" panose="020B0604020202020204" pitchFamily="34" charset="0"/>
              </a:rPr>
              <a:t>Республикалық</a:t>
            </a:r>
            <a:r>
              <a:rPr lang="ru-RU" sz="2940" b="1" dirty="0" smtClean="0">
                <a:solidFill>
                  <a:prstClr val="black"/>
                </a:solidFill>
                <a:latin typeface="Arial" panose="020B0604020202020204" pitchFamily="34" charset="0"/>
              </a:rPr>
              <a:t> бюджет </a:t>
            </a:r>
            <a:r>
              <a:rPr lang="ru-RU" sz="2940" b="1" dirty="0" err="1" smtClean="0">
                <a:solidFill>
                  <a:prstClr val="black"/>
                </a:solidFill>
                <a:latin typeface="Arial" panose="020B0604020202020204" pitchFamily="34" charset="0"/>
              </a:rPr>
              <a:t>кірістерінің</a:t>
            </a:r>
            <a:r>
              <a:rPr lang="ru-RU" sz="2940" b="1" dirty="0" smtClean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sz="2940" b="1" dirty="0" err="1" smtClean="0">
                <a:solidFill>
                  <a:prstClr val="black"/>
                </a:solidFill>
                <a:latin typeface="Arial" panose="020B0604020202020204" pitchFamily="34" charset="0"/>
              </a:rPr>
              <a:t>өсу</a:t>
            </a:r>
            <a:r>
              <a:rPr lang="ru-RU" sz="2940" b="1" dirty="0" smtClean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sz="2940" b="1" dirty="0" err="1" smtClean="0">
                <a:solidFill>
                  <a:prstClr val="black"/>
                </a:solidFill>
                <a:latin typeface="Arial" panose="020B0604020202020204" pitchFamily="34" charset="0"/>
              </a:rPr>
              <a:t>қарқыны</a:t>
            </a:r>
            <a:endParaRPr lang="ru-RU" sz="2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45" name="Google Shape;277;p4">
            <a:extLst>
              <a:ext uri="{FF2B5EF4-FFF2-40B4-BE49-F238E27FC236}">
                <a16:creationId xmlns:a16="http://schemas.microsoft.com/office/drawing/2014/main" id="{A4890DB9-70ED-4B69-81EE-791E043F083E}"/>
              </a:ext>
            </a:extLst>
          </p:cNvPr>
          <p:cNvGrpSpPr/>
          <p:nvPr/>
        </p:nvGrpSpPr>
        <p:grpSpPr>
          <a:xfrm rot="5400000">
            <a:off x="3216889" y="3366421"/>
            <a:ext cx="249837" cy="744972"/>
            <a:chOff x="6801474" y="1968366"/>
            <a:chExt cx="245504" cy="802802"/>
          </a:xfrm>
        </p:grpSpPr>
        <p:sp>
          <p:nvSpPr>
            <p:cNvPr id="46" name="Google Shape;278;p4">
              <a:extLst>
                <a:ext uri="{FF2B5EF4-FFF2-40B4-BE49-F238E27FC236}">
                  <a16:creationId xmlns:a16="http://schemas.microsoft.com/office/drawing/2014/main" id="{D0A977B9-EBFD-4F08-8A01-5C911C9052FA}"/>
                </a:ext>
              </a:extLst>
            </p:cNvPr>
            <p:cNvSpPr/>
            <p:nvPr/>
          </p:nvSpPr>
          <p:spPr>
            <a:xfrm>
              <a:off x="6846057" y="1968366"/>
              <a:ext cx="156341" cy="8028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134372" tIns="67168" rIns="134372" bIns="67168" anchor="ctr" anchorCtr="0">
              <a:noAutofit/>
            </a:bodyPr>
            <a:lstStyle>
              <a:defPPr>
                <a:defRPr lang="ru-RU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43985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7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47" name="Google Shape;279;p4">
              <a:extLst>
                <a:ext uri="{FF2B5EF4-FFF2-40B4-BE49-F238E27FC236}">
                  <a16:creationId xmlns:a16="http://schemas.microsoft.com/office/drawing/2014/main" id="{69ABD94F-698C-496B-BEA3-6CF29ABA110F}"/>
                </a:ext>
              </a:extLst>
            </p:cNvPr>
            <p:cNvGrpSpPr/>
            <p:nvPr/>
          </p:nvGrpSpPr>
          <p:grpSpPr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48" name="Google Shape;280;p4">
                <a:extLst>
                  <a:ext uri="{FF2B5EF4-FFF2-40B4-BE49-F238E27FC236}">
                    <a16:creationId xmlns:a16="http://schemas.microsoft.com/office/drawing/2014/main" id="{B87C21BB-5EA8-46BD-A3B7-F2672733E347}"/>
                  </a:ext>
                </a:extLst>
              </p:cNvPr>
              <p:cNvSpPr/>
              <p:nvPr/>
            </p:nvSpPr>
            <p:spPr>
              <a:xfrm>
                <a:off x="6191200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chemeClr val="tx1">
                    <a:lumMod val="75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34398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7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49" name="Google Shape;281;p4">
                <a:extLst>
                  <a:ext uri="{FF2B5EF4-FFF2-40B4-BE49-F238E27FC236}">
                    <a16:creationId xmlns:a16="http://schemas.microsoft.com/office/drawing/2014/main" id="{D08734E6-AAD7-4DCF-95A6-27BFF74A6756}"/>
                  </a:ext>
                </a:extLst>
              </p:cNvPr>
              <p:cNvSpPr/>
              <p:nvPr/>
            </p:nvSpPr>
            <p:spPr>
              <a:xfrm>
                <a:off x="6434275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chemeClr val="tx1">
                    <a:lumMod val="5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34398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7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</p:grpSp>
      </p:grpSp>
      <p:sp>
        <p:nvSpPr>
          <p:cNvPr id="50" name="Rectangle 286">
            <a:extLst>
              <a:ext uri="{FF2B5EF4-FFF2-40B4-BE49-F238E27FC236}">
                <a16:creationId xmlns:a16="http://schemas.microsoft.com/office/drawing/2014/main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8406" y="1994147"/>
            <a:ext cx="5630986" cy="1456479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671976" marR="0" lvl="1" indent="0" algn="l" defTabSz="134395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C3D6261-C224-4FBC-B6E0-4EDC4CB82407}"/>
              </a:ext>
            </a:extLst>
          </p:cNvPr>
          <p:cNvSpPr txBox="1"/>
          <p:nvPr/>
        </p:nvSpPr>
        <p:spPr>
          <a:xfrm>
            <a:off x="405594" y="1274908"/>
            <a:ext cx="5630987" cy="725711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>
            <a:spAutoFit/>
          </a:bodyPr>
          <a:lstStyle/>
          <a:p>
            <a:pPr marL="0" marR="0" lvl="0" indent="0" algn="ctr" defTabSz="101498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58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4-2026 </a:t>
            </a:r>
            <a:r>
              <a:rPr kumimoji="0" lang="ru-RU" sz="2058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жылдарға</a:t>
            </a:r>
            <a:r>
              <a:rPr kumimoji="0" lang="ru-RU" sz="2058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2058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kumimoji="0" lang="ru-RU" sz="2058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2058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спубликалық</a:t>
            </a:r>
            <a:r>
              <a:rPr kumimoji="0" lang="ru-RU" sz="2058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2058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бюджеттің</a:t>
            </a:r>
            <a:r>
              <a:rPr kumimoji="0" lang="ru-RU" sz="2058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2058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кірістері</a:t>
            </a:r>
            <a:endParaRPr kumimoji="0" lang="ru-RU" sz="2058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731738" y="3080446"/>
            <a:ext cx="99758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01498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64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рлн ₸</a:t>
            </a:r>
          </a:p>
        </p:txBody>
      </p:sp>
      <p:sp>
        <p:nvSpPr>
          <p:cNvPr id="53" name="object 6"/>
          <p:cNvSpPr txBox="1"/>
          <p:nvPr/>
        </p:nvSpPr>
        <p:spPr>
          <a:xfrm>
            <a:off x="621066" y="2373282"/>
            <a:ext cx="2192362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marR="0" lvl="0" indent="0" algn="l" defTabSz="1014989" rtl="0" eaLnBrk="0" fontAlgn="base" latinLnBrk="0" hangingPunct="0">
              <a:lnSpc>
                <a:spcPct val="100000"/>
              </a:lnSpc>
              <a:spcBef>
                <a:spcPts val="566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4703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r>
              <a:rPr kumimoji="0" lang="ru-RU" sz="4703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1</a:t>
            </a:r>
            <a:endParaRPr kumimoji="0" sz="4703" b="1" i="0" u="none" strike="noStrike" kern="1200" cap="none" spc="-7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599951" y="2082676"/>
            <a:ext cx="131510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81198" lvl="0" indent="0" algn="ctr" defTabSz="1014989" rtl="0" eaLnBrk="0" fontAlgn="base" latinLnBrk="0" hangingPunct="0">
              <a:lnSpc>
                <a:spcPct val="100000"/>
              </a:lnSpc>
              <a:spcBef>
                <a:spcPts val="389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64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kumimoji="0" lang="ru-RU" sz="1764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kumimoji="0" lang="ru-RU" sz="1764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2819985" y="3061780"/>
            <a:ext cx="99758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01498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64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рлн ₸</a:t>
            </a:r>
          </a:p>
        </p:txBody>
      </p:sp>
      <p:sp>
        <p:nvSpPr>
          <p:cNvPr id="56" name="object 6"/>
          <p:cNvSpPr txBox="1"/>
          <p:nvPr/>
        </p:nvSpPr>
        <p:spPr>
          <a:xfrm>
            <a:off x="2678985" y="2363950"/>
            <a:ext cx="2192362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marR="0" lvl="0" indent="0" algn="l" defTabSz="1014989" rtl="0" eaLnBrk="0" fontAlgn="base" latinLnBrk="0" hangingPunct="0">
              <a:lnSpc>
                <a:spcPct val="100000"/>
              </a:lnSpc>
              <a:spcBef>
                <a:spcPts val="566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4703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kumimoji="0" lang="en-US" sz="4703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kumimoji="0" lang="kk-KZ" sz="4703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kumimoji="0" lang="en-US" sz="4703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kumimoji="0" sz="4703" b="1" i="0" u="none" strike="noStrike" kern="1200" cap="none" spc="-7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2681195" y="2073343"/>
            <a:ext cx="131510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5 </a:t>
            </a:r>
            <a:r>
              <a:rPr lang="ru-RU" sz="1764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764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4737902" y="3043114"/>
            <a:ext cx="99758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01498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64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рлн ₸</a:t>
            </a:r>
          </a:p>
        </p:txBody>
      </p:sp>
      <p:sp>
        <p:nvSpPr>
          <p:cNvPr id="59" name="object 6"/>
          <p:cNvSpPr txBox="1"/>
          <p:nvPr/>
        </p:nvSpPr>
        <p:spPr>
          <a:xfrm>
            <a:off x="4620236" y="2373282"/>
            <a:ext cx="1526877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marR="0" lvl="0" indent="0" algn="l" defTabSz="1014989" rtl="0" eaLnBrk="0" fontAlgn="base" latinLnBrk="0" hangingPunct="0">
              <a:lnSpc>
                <a:spcPct val="100000"/>
              </a:lnSpc>
              <a:spcBef>
                <a:spcPts val="566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4703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8,4</a:t>
            </a:r>
            <a:endParaRPr kumimoji="0" sz="4703" b="1" i="0" u="none" strike="noStrike" kern="1200" cap="none" spc="-7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4613112" y="2082676"/>
            <a:ext cx="131510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6 </a:t>
            </a:r>
            <a:r>
              <a:rPr lang="ru-RU" sz="1764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764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1" name="Группа 60"/>
          <p:cNvGrpSpPr/>
          <p:nvPr/>
        </p:nvGrpSpPr>
        <p:grpSpPr>
          <a:xfrm>
            <a:off x="6904125" y="1260136"/>
            <a:ext cx="6095134" cy="728055"/>
            <a:chOff x="4694504" y="-1091564"/>
            <a:chExt cx="4491117" cy="495359"/>
          </a:xfrm>
        </p:grpSpPr>
        <p:grpSp>
          <p:nvGrpSpPr>
            <p:cNvPr id="62" name="Группа 61"/>
            <p:cNvGrpSpPr/>
            <p:nvPr/>
          </p:nvGrpSpPr>
          <p:grpSpPr>
            <a:xfrm>
              <a:off x="4694504" y="-1091564"/>
              <a:ext cx="4491117" cy="495359"/>
              <a:chOff x="59584" y="-1322441"/>
              <a:chExt cx="6780045" cy="495359"/>
            </a:xfrm>
          </p:grpSpPr>
          <p:sp>
            <p:nvSpPr>
              <p:cNvPr id="64" name="Rectangle 286">
                <a:extLst>
                  <a:ext uri="{FF2B5EF4-FFF2-40B4-BE49-F238E27FC236}">
                    <a16:creationId xmlns:a16="http://schemas.microsoft.com/office/drawing/2014/main" id="{96346146-8758-4B27-9047-53355E1E1E3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59584" y="-1322441"/>
                <a:ext cx="6336000" cy="432001"/>
              </a:xfrm>
              <a:prstGeom prst="roundRect">
                <a:avLst>
                  <a:gd name="adj" fmla="val 0"/>
                </a:avLst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ctr">
                  <a:defRPr sz="1100"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marL="506328" marR="0" lvl="1" indent="165666" algn="l" defTabSz="1014989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17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endParaRPr>
              </a:p>
            </p:txBody>
          </p:sp>
          <p:sp>
            <p:nvSpPr>
              <p:cNvPr id="65" name="Rectangle 35">
                <a:extLst>
                  <a:ext uri="{FF2B5EF4-FFF2-40B4-BE49-F238E27FC236}">
                    <a16:creationId xmlns:a16="http://schemas.microsoft.com/office/drawing/2014/main" id="{535F39BC-8A02-4A7A-A119-4CF9D3BA4712}"/>
                  </a:ext>
                </a:extLst>
              </p:cNvPr>
              <p:cNvSpPr/>
              <p:nvPr/>
            </p:nvSpPr>
            <p:spPr>
              <a:xfrm>
                <a:off x="1168291" y="-1320846"/>
                <a:ext cx="5671338" cy="4937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0" lvl="0" defTabSz="1014989" eaLnBrk="0" fontAlgn="base" hangingPunct="0">
                  <a:defRPr/>
                </a:pPr>
                <a:r>
                  <a:rPr kumimoji="0" lang="kk-KZ" sz="2058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160B7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Бюджеттегі </a:t>
                </a:r>
                <a:r>
                  <a:rPr kumimoji="0" lang="kk-KZ" sz="2058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160B7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кірістер </a:t>
                </a:r>
                <a:endParaRPr kumimoji="0" lang="kk-KZ" sz="2058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160B7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10" lvl="0" defTabSz="1014989" eaLnBrk="0" fontAlgn="base" hangingPunct="0">
                  <a:defRPr/>
                </a:pPr>
                <a:r>
                  <a:rPr kumimoji="0" lang="kk-KZ" sz="2058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0160B7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үлесінің өсуі </a:t>
                </a:r>
                <a:r>
                  <a:rPr lang="ru-RU" altLang="ru-RU" sz="1900" i="1" dirty="0" smtClean="0">
                    <a:solidFill>
                      <a:srgbClr val="0160B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</a:t>
                </a:r>
                <a:r>
                  <a:rPr lang="ru-RU" altLang="ru-RU" sz="1900" i="1" dirty="0" err="1" smtClean="0">
                    <a:solidFill>
                      <a:srgbClr val="0160B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шығыстардың</a:t>
                </a:r>
                <a:r>
                  <a:rPr lang="ru-RU" altLang="ru-RU" sz="1900" i="1" dirty="0" smtClean="0">
                    <a:solidFill>
                      <a:srgbClr val="0160B7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%)</a:t>
                </a:r>
                <a:endParaRPr lang="ru-RU" sz="1900" i="1" dirty="0">
                  <a:solidFill>
                    <a:srgbClr val="0160B7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Oval 185">
                <a:extLst>
                  <a:ext uri="{FF2B5EF4-FFF2-40B4-BE49-F238E27FC236}">
                    <a16:creationId xmlns:a16="http://schemas.microsoft.com/office/drawing/2014/main" id="{3D5333D7-A96D-4DCF-ADAD-3A127F185C55}"/>
                  </a:ext>
                </a:extLst>
              </p:cNvPr>
              <p:cNvSpPr/>
              <p:nvPr/>
            </p:nvSpPr>
            <p:spPr bwMode="gray">
              <a:xfrm>
                <a:off x="455781" y="-1262957"/>
                <a:ext cx="680770" cy="391903"/>
              </a:xfrm>
              <a:prstGeom prst="ellipse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98784" tIns="49391" rIns="98784" bIns="49391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13439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352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63" name="Picture 2" descr="Иконки верный. Скачать иконку верный. Страница 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35463" y="-1049652"/>
              <a:ext cx="493451" cy="4408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67" name="Таблица 21">
            <a:extLst>
              <a:ext uri="{FF2B5EF4-FFF2-40B4-BE49-F238E27FC236}">
                <a16:creationId xmlns:a16="http://schemas.microsoft.com/office/drawing/2014/main" id="{1FC2B25C-E289-41DF-84DA-8215795EE0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819995"/>
              </p:ext>
            </p:extLst>
          </p:nvPr>
        </p:nvGraphicFramePr>
        <p:xfrm>
          <a:off x="440516" y="3998997"/>
          <a:ext cx="5596065" cy="2912633"/>
        </p:xfrm>
        <a:graphic>
          <a:graphicData uri="http://schemas.openxmlformats.org/drawingml/2006/table">
            <a:tbl>
              <a:tblPr/>
              <a:tblGrid>
                <a:gridCol w="4798646">
                  <a:extLst>
                    <a:ext uri="{9D8B030D-6E8A-4147-A177-3AD203B41FA5}">
                      <a16:colId xmlns:a16="http://schemas.microsoft.com/office/drawing/2014/main" val="1390038518"/>
                    </a:ext>
                  </a:extLst>
                </a:gridCol>
                <a:gridCol w="7974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02235">
                <a:tc gridSpan="2">
                  <a:txBody>
                    <a:bodyPr/>
                    <a:lstStyle>
                      <a:lvl1pPr marL="0" algn="l" defTabSz="780581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390291" algn="l" defTabSz="780581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780581" algn="l" defTabSz="780581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170873" algn="l" defTabSz="780581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561165" algn="l" defTabSz="780581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1951454" algn="l" defTabSz="780581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341745" algn="l" defTabSz="780581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2732037" algn="l" defTabSz="780581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122326" algn="l" defTabSz="780581" rtl="0" eaLnBrk="1" latinLnBrk="0" hangingPunct="1">
                        <a:defRPr sz="15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600" b="1" kern="120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3 </a:t>
                      </a:r>
                      <a:r>
                        <a:rPr lang="ru-RU" altLang="ru-RU" sz="1600" b="1" kern="120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ылғы</a:t>
                      </a:r>
                      <a:r>
                        <a:rPr lang="ru-RU" altLang="ru-RU" sz="1600" b="1" kern="120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altLang="ru-RU" sz="1600" b="1" kern="120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ғалауға</a:t>
                      </a:r>
                      <a:r>
                        <a:rPr lang="ru-RU" altLang="ru-RU" sz="1600" b="1" kern="120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altLang="ru-RU" sz="1600" b="1" kern="120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атысты</a:t>
                      </a:r>
                      <a:r>
                        <a:rPr lang="ru-RU" altLang="ru-RU" sz="1600" b="1" kern="120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br>
                        <a:rPr lang="ru-RU" altLang="ru-RU" sz="1600" b="1" kern="120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altLang="ru-RU" sz="1600" b="1" kern="120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4 </a:t>
                      </a:r>
                      <a:r>
                        <a:rPr lang="ru-RU" altLang="ru-RU" sz="1600" b="1" kern="120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ылға</a:t>
                      </a:r>
                      <a:r>
                        <a:rPr lang="ru-RU" altLang="ru-RU" sz="1600" b="1" kern="120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altLang="ru-RU" sz="1600" b="1" kern="120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рналған</a:t>
                      </a:r>
                      <a:r>
                        <a:rPr lang="ru-RU" altLang="ru-RU" sz="1600" b="1" kern="120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altLang="ru-RU" sz="1600" b="1" kern="120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ірістердің</a:t>
                      </a:r>
                      <a:r>
                        <a:rPr lang="ru-RU" altLang="ru-RU" sz="1600" b="1" kern="120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altLang="ru-RU" sz="1600" b="1" kern="1200" dirty="0" err="1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ұлғаюы</a:t>
                      </a:r>
                      <a:r>
                        <a:rPr lang="ru-RU" altLang="ru-RU" sz="1600" b="1" kern="1200" dirty="0" smtClean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altLang="ru-RU" sz="1500" b="0" i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млрд </a:t>
                      </a:r>
                      <a:r>
                        <a:rPr lang="ru-RU" altLang="ru-RU" sz="1500" b="0" i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₸)</a:t>
                      </a:r>
                      <a:r>
                        <a:rPr lang="ru-RU" altLang="ru-RU" sz="1600" b="1" kern="120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:</a:t>
                      </a:r>
                    </a:p>
                  </a:txBody>
                  <a:tcPr marL="0" marR="3968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pattFill prst="ltUpDiag">
                      <a:fgClr>
                        <a:schemeClr val="accent1">
                          <a:lumMod val="40000"/>
                          <a:lumOff val="60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extLst>
                  <a:ext uri="{0D108BD9-81ED-4DB2-BD59-A6C34878D82A}">
                    <a16:rowId xmlns:a16="http://schemas.microsoft.com/office/drawing/2014/main" val="2110989546"/>
                  </a:ext>
                </a:extLst>
              </a:tr>
              <a:tr h="24623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500" b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ономиканың</a:t>
                      </a:r>
                      <a:r>
                        <a:rPr kumimoji="0" lang="ru-RU" sz="1500" b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аму </a:t>
                      </a:r>
                      <a:r>
                        <a:rPr kumimoji="0" lang="ru-RU" sz="1500" b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рқынын</a:t>
                      </a:r>
                      <a:r>
                        <a:rPr kumimoji="0" lang="ru-RU" sz="1500" b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500" b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ттыру</a:t>
                      </a:r>
                      <a:endParaRPr kumimoji="0" lang="ru-RU" sz="1300" b="0" i="1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5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107,7</a:t>
                      </a:r>
                    </a:p>
                  </a:txBody>
                  <a:tcPr marL="10500" marR="72000" marT="105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7235188"/>
                  </a:ext>
                </a:extLst>
              </a:tr>
              <a:tr h="47084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5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қтық</a:t>
                      </a:r>
                      <a:r>
                        <a:rPr kumimoji="0" lang="ru-RU" alt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ru-RU" sz="15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kumimoji="0" lang="ru-RU" alt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ru-RU" sz="15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едендік</a:t>
                      </a:r>
                      <a:r>
                        <a:rPr kumimoji="0" lang="ru-RU" alt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ru-RU" sz="15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әкімшілендіру</a:t>
                      </a:r>
                      <a:r>
                        <a:rPr kumimoji="0" lang="ru-RU" alt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br>
                        <a:rPr kumimoji="0" lang="ru-RU" alt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ru-RU" alt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н </a:t>
                      </a:r>
                      <a:r>
                        <a:rPr kumimoji="0" lang="ru-RU" altLang="ru-RU" sz="15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ифрландыруды</a:t>
                      </a:r>
                      <a:r>
                        <a:rPr kumimoji="0" lang="ru-RU" alt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ru-RU" sz="15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қсарту</a:t>
                      </a:r>
                      <a:endParaRPr kumimoji="0" lang="ru-RU" altLang="ru-RU" sz="15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kk-KZ" sz="15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17,2</a:t>
                      </a:r>
                      <a:endParaRPr lang="ru-RU" sz="1500" b="0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500" marR="72000" marT="1050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3135452"/>
                  </a:ext>
                </a:extLst>
              </a:tr>
              <a:tr h="43945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5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ңнамаға</a:t>
                      </a:r>
                      <a:r>
                        <a:rPr kumimoji="0" 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5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згерістер</a:t>
                      </a:r>
                      <a:r>
                        <a:rPr kumimoji="0" 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5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нгізу</a:t>
                      </a:r>
                      <a:r>
                        <a:rPr kumimoji="0" lang="ru-RU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kumimoji="0" lang="ru-RU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ru-RU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3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мекі</a:t>
                      </a:r>
                      <a:r>
                        <a:rPr kumimoji="0" lang="ru-RU" sz="13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3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немдеріне</a:t>
                      </a:r>
                      <a:r>
                        <a:rPr kumimoji="0" lang="ru-RU" sz="13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3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циздер</a:t>
                      </a:r>
                      <a:r>
                        <a:rPr kumimoji="0" lang="ru-RU" sz="13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3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өлшерлемелерін</a:t>
                      </a:r>
                      <a:r>
                        <a:rPr kumimoji="0" lang="ru-RU" sz="13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3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ұлғайту</a:t>
                      </a:r>
                      <a:r>
                        <a:rPr kumimoji="0" lang="ru-RU" sz="13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</a:t>
                      </a:r>
                      <a:endParaRPr kumimoji="0" lang="ru-RU" sz="1300" b="0" i="1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kk-KZ" sz="15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,7</a:t>
                      </a:r>
                      <a:endParaRPr lang="ru-RU" sz="1500" b="0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500" marR="72000" marT="1050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4021982"/>
                  </a:ext>
                </a:extLst>
              </a:tr>
              <a:tr h="29054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500" b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қ</a:t>
                      </a:r>
                      <a:r>
                        <a:rPr kumimoji="0" lang="ru-RU" altLang="ru-RU" sz="1500" b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ru-RU" sz="1500" b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лынатын</a:t>
                      </a:r>
                      <a:r>
                        <a:rPr kumimoji="0" lang="ru-RU" altLang="ru-RU" sz="1500" b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ru-RU" sz="1500" b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ұнай</a:t>
                      </a:r>
                      <a:r>
                        <a:rPr kumimoji="0" lang="ru-RU" altLang="ru-RU" sz="1500" b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экспорт </a:t>
                      </a:r>
                      <a:r>
                        <a:rPr kumimoji="0" lang="ru-RU" altLang="ru-RU" sz="1500" b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лемінің</a:t>
                      </a:r>
                      <a:r>
                        <a:rPr kumimoji="0" lang="ru-RU" altLang="ru-RU" sz="1500" b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altLang="ru-RU" sz="1500" b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згеруі</a:t>
                      </a:r>
                      <a:endParaRPr kumimoji="0" lang="ru-RU" altLang="ru-RU" sz="1500" b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5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,8</a:t>
                      </a:r>
                    </a:p>
                  </a:txBody>
                  <a:tcPr marL="10500" marR="72000" marT="105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5778182"/>
                  </a:ext>
                </a:extLst>
              </a:tr>
              <a:tr h="24623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500" b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еңгенің</a:t>
                      </a:r>
                      <a:r>
                        <a:rPr kumimoji="0" lang="ru-RU" sz="1500" b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АҚШ </a:t>
                      </a:r>
                      <a:r>
                        <a:rPr kumimoji="0" lang="ru-RU" sz="1500" b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лларына</a:t>
                      </a:r>
                      <a:r>
                        <a:rPr kumimoji="0" lang="ru-RU" sz="1500" b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500" b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ағамының</a:t>
                      </a:r>
                      <a:r>
                        <a:rPr kumimoji="0" lang="ru-RU" sz="1500" b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500" b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өзгеруі</a:t>
                      </a:r>
                      <a:endParaRPr kumimoji="0" lang="ru-RU" sz="1500" b="0" i="1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5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6,3</a:t>
                      </a:r>
                    </a:p>
                  </a:txBody>
                  <a:tcPr marL="10500" marR="72000" marT="105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623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500" b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</a:t>
                      </a:r>
                      <a:r>
                        <a:rPr kumimoji="0" lang="ru-RU" sz="1500" b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500" b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орлар</a:t>
                      </a:r>
                      <a:endParaRPr kumimoji="0" lang="ru-RU" sz="13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kk-KZ" sz="15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9,4</a:t>
                      </a:r>
                      <a:endParaRPr lang="ru-RU" sz="1500" b="0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500" marR="72000" marT="105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47084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500" b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ҚС </a:t>
                      </a:r>
                      <a:r>
                        <a:rPr kumimoji="0" lang="ru-RU" sz="1500" b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қайтару</a:t>
                      </a:r>
                      <a:r>
                        <a:rPr kumimoji="0" lang="ru-RU" sz="1500" b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500" b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масының</a:t>
                      </a:r>
                      <a:r>
                        <a:rPr kumimoji="0" lang="ru-RU" sz="1500" b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500" b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ұлғаюы</a:t>
                      </a:r>
                      <a:r>
                        <a:rPr kumimoji="0" lang="ru-RU" sz="1500" b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ru-RU" sz="1500" b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іржолғы</a:t>
                      </a:r>
                      <a:r>
                        <a:rPr kumimoji="0" lang="ru-RU" sz="1500" b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500" b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үсімдер</a:t>
                      </a:r>
                      <a:r>
                        <a:rPr kumimoji="0" lang="ru-RU" sz="1500" b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500" b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әне</a:t>
                      </a:r>
                      <a:r>
                        <a:rPr kumimoji="0" lang="ru-RU" sz="1500" b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500" b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.б</a:t>
                      </a:r>
                      <a:r>
                        <a:rPr kumimoji="0" lang="ru-RU" sz="1500" b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</a:t>
                      </a:r>
                      <a:r>
                        <a:rPr kumimoji="0" lang="kk-KZ" sz="1500" b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е</a:t>
                      </a:r>
                      <a:r>
                        <a:rPr kumimoji="0" lang="ru-RU" sz="1500" b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бінен</a:t>
                      </a:r>
                      <a:r>
                        <a:rPr kumimoji="0" lang="en-US" sz="1500" b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500" b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заю</a:t>
                      </a:r>
                      <a:r>
                        <a:rPr kumimoji="0" lang="ru-RU" sz="1500" b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kumimoji="0" lang="ru-RU" sz="1500" b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25200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687537" rtl="0" eaLnBrk="1" fontAlgn="ctr" latinLnBrk="0" hangingPunct="1"/>
                      <a:r>
                        <a:rPr lang="ru-RU" sz="15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513</a:t>
                      </a:r>
                    </a:p>
                  </a:txBody>
                  <a:tcPr marL="10500" marR="72000" marT="105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6702691"/>
                  </a:ext>
                </a:extLst>
              </a:tr>
            </a:tbl>
          </a:graphicData>
        </a:graphic>
      </p:graphicFrame>
      <p:pic>
        <p:nvPicPr>
          <p:cNvPr id="68" name="Рисунок 67">
            <a:extLst>
              <a:ext uri="{FF2B5EF4-FFF2-40B4-BE49-F238E27FC236}">
                <a16:creationId xmlns:a16="http://schemas.microsoft.com/office/drawing/2014/main" id="{DCB6F59F-6330-6C04-E481-1A6F3F72670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duotone>
              <a:prstClr val="black"/>
              <a:sysClr val="window" lastClr="FFFFFF">
                <a:lumMod val="50000"/>
                <a:tint val="45000"/>
                <a:satMod val="400000"/>
              </a:sys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42" t="2948" r="-1"/>
          <a:stretch/>
        </p:blipFill>
        <p:spPr>
          <a:xfrm flipH="1">
            <a:off x="6685100" y="1260136"/>
            <a:ext cx="36783" cy="5688000"/>
          </a:xfrm>
          <a:prstGeom prst="rect">
            <a:avLst/>
          </a:prstGeom>
        </p:spPr>
      </p:pic>
      <p:graphicFrame>
        <p:nvGraphicFramePr>
          <p:cNvPr id="69" name="Диаграмма 68">
            <a:extLst>
              <a:ext uri="{FF2B5EF4-FFF2-40B4-BE49-F238E27FC236}">
                <a16:creationId xmlns:a16="http://schemas.microsoft.com/office/drawing/2014/main" id="{20CF6BB7-B728-FC19-C440-5BC656904D7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7328697"/>
              </p:ext>
            </p:extLst>
          </p:nvPr>
        </p:nvGraphicFramePr>
        <p:xfrm>
          <a:off x="6912005" y="2373282"/>
          <a:ext cx="6087254" cy="4705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2850646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C986F002-251E-4842-8EAB-C1387EFEFEAD}"/>
              </a:ext>
            </a:extLst>
          </p:cNvPr>
          <p:cNvSpPr txBox="1">
            <a:spLocks/>
          </p:cNvSpPr>
          <p:nvPr/>
        </p:nvSpPr>
        <p:spPr>
          <a:xfrm>
            <a:off x="746322" y="252000"/>
            <a:ext cx="11951123" cy="46513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780581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70000"/>
              <a:buFontTx/>
              <a:buNone/>
              <a:defRPr sz="18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5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79912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359824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0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i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 defTabSz="914400" eaLnBrk="0" fontAlgn="base" hangingPunct="0">
              <a:lnSpc>
                <a:spcPct val="90000"/>
              </a:lnSpc>
              <a:spcAft>
                <a:spcPct val="0"/>
              </a:spcAft>
              <a:buClrTx/>
              <a:buSzTx/>
            </a:pPr>
            <a:r>
              <a:rPr lang="ru-RU" sz="2940" b="1" dirty="0" err="1" smtClean="0">
                <a:solidFill>
                  <a:prstClr val="black"/>
                </a:solidFill>
                <a:latin typeface="Arial" panose="020B0604020202020204" pitchFamily="34" charset="0"/>
              </a:rPr>
              <a:t>Ұлттық</a:t>
            </a:r>
            <a:r>
              <a:rPr lang="ru-RU" sz="2940" b="1" dirty="0" smtClean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sz="2940" b="1" dirty="0" err="1" smtClean="0">
                <a:solidFill>
                  <a:prstClr val="black"/>
                </a:solidFill>
                <a:latin typeface="Arial" panose="020B0604020202020204" pitchFamily="34" charset="0"/>
              </a:rPr>
              <a:t>қордан</a:t>
            </a:r>
            <a:r>
              <a:rPr lang="ru-RU" sz="2940" b="1" dirty="0" smtClean="0">
                <a:solidFill>
                  <a:prstClr val="black"/>
                </a:solidFill>
                <a:latin typeface="Arial" panose="020B0604020202020204" pitchFamily="34" charset="0"/>
              </a:rPr>
              <a:t> 2024 – 2026 </a:t>
            </a:r>
            <a:r>
              <a:rPr lang="ru-RU" sz="2940" b="1" dirty="0" err="1" smtClean="0">
                <a:solidFill>
                  <a:prstClr val="black"/>
                </a:solidFill>
                <a:latin typeface="Arial" panose="020B0604020202020204" pitchFamily="34" charset="0"/>
              </a:rPr>
              <a:t>жылдарға</a:t>
            </a:r>
            <a:r>
              <a:rPr lang="ru-RU" sz="2940" b="1" dirty="0" smtClean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sz="2940" b="1" dirty="0" err="1" smtClean="0">
                <a:solidFill>
                  <a:prstClr val="black"/>
                </a:solidFill>
                <a:latin typeface="Arial" panose="020B0604020202020204" pitchFamily="34" charset="0"/>
              </a:rPr>
              <a:t>арналған</a:t>
            </a:r>
            <a:r>
              <a:rPr lang="ru-RU" sz="2940" b="1" dirty="0" smtClean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sz="2940" b="1" dirty="0" err="1" smtClean="0">
                <a:solidFill>
                  <a:prstClr val="black"/>
                </a:solidFill>
                <a:latin typeface="Arial" panose="020B0604020202020204" pitchFamily="34" charset="0"/>
              </a:rPr>
              <a:t>кепілдендірілген</a:t>
            </a:r>
            <a:r>
              <a:rPr lang="ru-RU" sz="2940" b="1" dirty="0" smtClean="0">
                <a:solidFill>
                  <a:prstClr val="black"/>
                </a:solidFill>
                <a:latin typeface="Arial" panose="020B0604020202020204" pitchFamily="34" charset="0"/>
              </a:rPr>
              <a:t> трансферт </a:t>
            </a:r>
            <a:r>
              <a:rPr lang="ru-RU" sz="2940" b="1" dirty="0" err="1" smtClean="0">
                <a:solidFill>
                  <a:prstClr val="black"/>
                </a:solidFill>
                <a:latin typeface="Arial" panose="020B0604020202020204" pitchFamily="34" charset="0"/>
              </a:rPr>
              <a:t>туралы</a:t>
            </a:r>
            <a:endParaRPr lang="ru-RU" sz="2940" b="1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EA03EFF-93AD-4792-B7EA-E646FF5FFE89}"/>
              </a:ext>
            </a:extLst>
          </p:cNvPr>
          <p:cNvSpPr txBox="1"/>
          <p:nvPr/>
        </p:nvSpPr>
        <p:spPr>
          <a:xfrm>
            <a:off x="782205" y="3816391"/>
            <a:ext cx="5630988" cy="13365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250825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сімді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ұнай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екторы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рынан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ға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жанатын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імдердің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емінен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пайды</a:t>
            </a:r>
            <a:endParaRPr lang="ru-RU" altLang="ru-RU" sz="1617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50825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ілетін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п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юлар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,2 трлн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25-2026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ры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2,3 трлн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endParaRPr lang="ru-RU" altLang="ru-RU" sz="1617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6874814" y="1329424"/>
            <a:ext cx="5800257" cy="576000"/>
            <a:chOff x="97062" y="660414"/>
            <a:chExt cx="6451829" cy="391903"/>
          </a:xfrm>
        </p:grpSpPr>
        <p:sp>
          <p:nvSpPr>
            <p:cNvPr id="11" name="Rectangle 35">
              <a:extLst>
                <a:ext uri="{FF2B5EF4-FFF2-40B4-BE49-F238E27FC236}">
                  <a16:creationId xmlns:a16="http://schemas.microsoft.com/office/drawing/2014/main" id="{535F39BC-8A02-4A7A-A119-4CF9D3BA4712}"/>
                </a:ext>
              </a:extLst>
            </p:cNvPr>
            <p:cNvSpPr/>
            <p:nvPr/>
          </p:nvSpPr>
          <p:spPr>
            <a:xfrm>
              <a:off x="763124" y="731056"/>
              <a:ext cx="5785767" cy="278294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>
              <a:spAutoFit/>
            </a:bodyPr>
            <a:lstStyle/>
            <a:p>
              <a:pPr marL="10" marR="0" lvl="0" indent="0" algn="ctr" defTabSz="1014989" eaLnBrk="0" fontAlgn="base" latinLnBrk="0" hangingPunct="0">
                <a:lnSpc>
                  <a:spcPct val="100000"/>
                </a:lnSpc>
                <a:spcBef>
                  <a:spcPts val="88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k-KZ" sz="2058" b="1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Ұлттық қорға таза түсімдердің өсуі</a:t>
              </a:r>
              <a:endParaRPr kumimoji="0" lang="ru-RU" sz="2058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Oval 185">
              <a:extLst>
                <a:ext uri="{FF2B5EF4-FFF2-40B4-BE49-F238E27FC236}">
                  <a16:creationId xmlns:a16="http://schemas.microsoft.com/office/drawing/2014/main" id="{3D5333D7-A96D-4DCF-ADAD-3A127F185C55}"/>
                </a:ext>
              </a:extLst>
            </p:cNvPr>
            <p:cNvSpPr/>
            <p:nvPr/>
          </p:nvSpPr>
          <p:spPr bwMode="gray">
            <a:xfrm>
              <a:off x="97062" y="660414"/>
              <a:ext cx="680749" cy="391903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8784" tIns="49391" rIns="98784" bIns="493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4398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35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sp>
        <p:nvSpPr>
          <p:cNvPr id="13" name="Прямоугольник 1"/>
          <p:cNvSpPr>
            <a:spLocks noChangeArrowheads="1"/>
          </p:cNvSpPr>
          <p:nvPr/>
        </p:nvSpPr>
        <p:spPr bwMode="auto">
          <a:xfrm>
            <a:off x="857813" y="1744821"/>
            <a:ext cx="4129258" cy="1247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9298" tIns="74647" rIns="149298" bIns="74647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marR="0" lvl="0" indent="0" defTabSz="559959" eaLnBrk="0" fontAlgn="auto" latinLnBrk="0" hangingPunct="0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altLang="ru-RU" sz="2352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Arial Narrow" panose="020B0606020202030204" pitchFamily="34" charset="0"/>
              </a:rPr>
              <a:t>С</a:t>
            </a:r>
            <a:r>
              <a:rPr kumimoji="0" lang="ru-RU" altLang="ru-RU" sz="4703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sym typeface="Arial Narrow" panose="020B0606020202030204" pitchFamily="34" charset="0"/>
              </a:rPr>
              <a:t> 2 400 </a:t>
            </a:r>
            <a:r>
              <a:rPr kumimoji="0" lang="ru-RU" altLang="ru-RU" sz="2352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Arial Narrow" panose="020B0606020202030204" pitchFamily="34" charset="0"/>
              </a:rPr>
              <a:t>млрд тенге</a:t>
            </a:r>
          </a:p>
          <a:p>
            <a:pPr marL="0" marR="0" lvl="0" indent="0" algn="ctr" defTabSz="559959" eaLnBrk="0" fontAlgn="auto" latinLnBrk="0" hangingPunct="0">
              <a:lnSpc>
                <a:spcPct val="101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k-KZ" altLang="ru-RU" sz="2352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Arial Narrow" panose="020B0606020202030204" pitchFamily="34" charset="0"/>
              </a:rPr>
              <a:t>утвержденный</a:t>
            </a:r>
            <a:endParaRPr kumimoji="0" lang="ru-RU" altLang="ru-RU" sz="2352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Arial Narrow" panose="020B0606020202030204" pitchFamily="34" charset="0"/>
            </a:endParaRPr>
          </a:p>
        </p:txBody>
      </p:sp>
      <p:sp>
        <p:nvSpPr>
          <p:cNvPr id="14" name="Rectangle 286">
            <a:extLst>
              <a:ext uri="{FF2B5EF4-FFF2-40B4-BE49-F238E27FC236}">
                <a16:creationId xmlns:a16="http://schemas.microsoft.com/office/drawing/2014/main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42013" y="1898722"/>
            <a:ext cx="5630986" cy="1929743"/>
          </a:xfrm>
          <a:prstGeom prst="roundRect">
            <a:avLst>
              <a:gd name="adj" fmla="val 0"/>
            </a:avLst>
          </a:prstGeom>
          <a:solidFill>
            <a:sysClr val="window" lastClr="FFFFFF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671976" marR="0" lvl="1" indent="0" defTabSz="1343953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5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3D6261-C224-4FBC-B6E0-4EDC4CB82407}"/>
              </a:ext>
            </a:extLst>
          </p:cNvPr>
          <p:cNvSpPr txBox="1"/>
          <p:nvPr/>
        </p:nvSpPr>
        <p:spPr>
          <a:xfrm>
            <a:off x="713595" y="1274908"/>
            <a:ext cx="5659406" cy="646331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>
            <a:spAutoFit/>
          </a:bodyPr>
          <a:lstStyle/>
          <a:p>
            <a:pPr lvl="0" algn="ctr" defTabSz="101498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00" b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sz="180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дан</a:t>
            </a:r>
            <a:r>
              <a:rPr lang="ru-RU" sz="18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4-2026 </a:t>
            </a:r>
            <a:r>
              <a:rPr kumimoji="0" lang="ru-RU" sz="18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жылдарға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8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8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кепілдендірілген</a:t>
            </a:r>
            <a:r>
              <a:rPr kumimoji="0" lang="ru-RU" sz="18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800" b="1" i="0" u="none" strike="noStrike" kern="0" cap="none" spc="0" normalizeH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трансферттің</a:t>
            </a:r>
            <a:r>
              <a:rPr kumimoji="0" lang="ru-RU" sz="18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800" b="1" i="0" u="none" strike="noStrike" kern="0" cap="none" spc="0" normalizeH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947119" y="3064117"/>
            <a:ext cx="99758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лн ₸</a:t>
            </a:r>
          </a:p>
        </p:txBody>
      </p:sp>
      <p:sp>
        <p:nvSpPr>
          <p:cNvPr id="17" name="Rectangle 286">
            <a:extLst>
              <a:ext uri="{FF2B5EF4-FFF2-40B4-BE49-F238E27FC236}">
                <a16:creationId xmlns:a16="http://schemas.microsoft.com/office/drawing/2014/main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840790" y="1958520"/>
            <a:ext cx="5750188" cy="1812414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671976" lvl="1" defTabSz="1343953" eaLnBrk="0" hangingPunct="0">
              <a:defRPr/>
            </a:pPr>
            <a:endParaRPr lang="en-US" sz="2205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6861726" y="4059311"/>
            <a:ext cx="5466380" cy="725711"/>
            <a:chOff x="412167" y="708693"/>
            <a:chExt cx="6080640" cy="493765"/>
          </a:xfrm>
        </p:grpSpPr>
        <p:sp>
          <p:nvSpPr>
            <p:cNvPr id="19" name="Rectangle 35">
              <a:extLst>
                <a:ext uri="{FF2B5EF4-FFF2-40B4-BE49-F238E27FC236}">
                  <a16:creationId xmlns:a16="http://schemas.microsoft.com/office/drawing/2014/main" id="{535F39BC-8A02-4A7A-A119-4CF9D3BA4712}"/>
                </a:ext>
              </a:extLst>
            </p:cNvPr>
            <p:cNvSpPr/>
            <p:nvPr/>
          </p:nvSpPr>
          <p:spPr>
            <a:xfrm>
              <a:off x="1092807" y="708693"/>
              <a:ext cx="5400000" cy="493765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>
              <a:spAutoFit/>
            </a:bodyPr>
            <a:lstStyle/>
            <a:p>
              <a:pPr marL="10" marR="0" lvl="0" indent="0" algn="ctr" defTabSz="1014989" eaLnBrk="0" fontAlgn="base" latinLnBrk="0" hangingPunct="0">
                <a:lnSpc>
                  <a:spcPct val="100000"/>
                </a:lnSpc>
                <a:spcBef>
                  <a:spcPts val="88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58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Ұлттық</a:t>
              </a:r>
              <a:r>
                <a:rPr kumimoji="0" lang="ru-RU" sz="2058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ru-RU" sz="2058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қордың</a:t>
              </a:r>
              <a:r>
                <a:rPr kumimoji="0" lang="ru-RU" sz="2058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ru-RU" sz="2058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валюталық</a:t>
              </a:r>
              <a:r>
                <a:rPr kumimoji="0" lang="ru-RU" sz="2058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ru-RU" sz="2058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активтерінің</a:t>
              </a:r>
              <a:r>
                <a:rPr kumimoji="0" lang="ru-RU" sz="2058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ru-RU" sz="2058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өсуі</a:t>
              </a:r>
              <a:endParaRPr kumimoji="0" lang="ru-RU" sz="2058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Oval 185">
              <a:extLst>
                <a:ext uri="{FF2B5EF4-FFF2-40B4-BE49-F238E27FC236}">
                  <a16:creationId xmlns:a16="http://schemas.microsoft.com/office/drawing/2014/main" id="{3D5333D7-A96D-4DCF-ADAD-3A127F185C55}"/>
                </a:ext>
              </a:extLst>
            </p:cNvPr>
            <p:cNvSpPr/>
            <p:nvPr/>
          </p:nvSpPr>
          <p:spPr bwMode="gray">
            <a:xfrm>
              <a:off x="412167" y="734842"/>
              <a:ext cx="680771" cy="391903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8784" tIns="49391" rIns="98784" bIns="493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4398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35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6828669" y="4802424"/>
            <a:ext cx="5650666" cy="1812414"/>
            <a:chOff x="130125" y="3245140"/>
            <a:chExt cx="4185770" cy="1233142"/>
          </a:xfrm>
          <a:noFill/>
        </p:grpSpPr>
        <p:sp>
          <p:nvSpPr>
            <p:cNvPr id="22" name="Rectangle 286">
              <a:extLst>
                <a:ext uri="{FF2B5EF4-FFF2-40B4-BE49-F238E27FC236}">
                  <a16:creationId xmlns:a16="http://schemas.microsoft.com/office/drawing/2014/main" id="{90E8E612-AD68-4E7B-AD80-1CCB60BA4FAB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30125" y="3245140"/>
              <a:ext cx="4185770" cy="1233142"/>
            </a:xfrm>
            <a:prstGeom prst="roundRect">
              <a:avLst>
                <a:gd name="adj" fmla="val 0"/>
              </a:avLst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671976" marR="0" lvl="1" indent="0" defTabSz="1343953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5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23" name="object 6"/>
            <p:cNvSpPr txBox="1"/>
            <p:nvPr/>
          </p:nvSpPr>
          <p:spPr>
            <a:xfrm>
              <a:off x="443183" y="3585550"/>
              <a:ext cx="961818" cy="523831"/>
            </a:xfrm>
            <a:prstGeom prst="rect">
              <a:avLst/>
            </a:prstGeom>
          </p:spPr>
          <p:txBody>
            <a:bodyPr vert="horz" wrap="square" lIns="0" tIns="45731" rIns="0" bIns="0" rtlCol="0">
              <a:spAutoFit/>
            </a:bodyPr>
            <a:lstStyle>
              <a:defPPr>
                <a:defRPr lang="en-US"/>
              </a:defPPr>
              <a:lvl1pPr marL="18666" defTabSz="1014989" eaLnBrk="0" fontAlgn="base" hangingPunct="0">
                <a:spcBef>
                  <a:spcPts val="566"/>
                </a:spcBef>
                <a:spcAft>
                  <a:spcPct val="0"/>
                </a:spcAft>
                <a:defRPr sz="4703" b="1" spc="-7">
                  <a:solidFill>
                    <a:srgbClr val="00B050"/>
                  </a:solidFill>
                  <a:latin typeface="Arial"/>
                  <a:cs typeface="Arial"/>
                </a:defRPr>
              </a:lvl1pPr>
            </a:lstStyle>
            <a:p>
              <a:pPr marL="18666" marR="0" lvl="0" indent="0" defTabSz="1014989" eaLnBrk="0" fontAlgn="base" latinLnBrk="0" hangingPunct="0">
                <a:lnSpc>
                  <a:spcPct val="100000"/>
                </a:lnSpc>
                <a:spcBef>
                  <a:spcPts val="566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4703" b="1" i="0" u="none" strike="noStrike" kern="0" cap="none" spc="-7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68,0</a:t>
              </a:r>
              <a:endParaRPr kumimoji="0" sz="4703" b="1" i="0" u="none" strike="noStrike" kern="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423014" y="3338662"/>
              <a:ext cx="974173" cy="247537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81198" lvl="0" indent="0" algn="ctr" defTabSz="1014989" eaLnBrk="0" fontAlgn="base" latinLnBrk="0" hangingPunct="0">
                <a:lnSpc>
                  <a:spcPct val="100000"/>
                </a:lnSpc>
                <a:spcBef>
                  <a:spcPts val="389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024 </a:t>
              </a:r>
              <a:r>
                <a:rPr kumimoji="0" lang="ru-RU" sz="1764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жыл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object 6"/>
            <p:cNvSpPr txBox="1"/>
            <p:nvPr/>
          </p:nvSpPr>
          <p:spPr>
            <a:xfrm>
              <a:off x="1922526" y="3570680"/>
              <a:ext cx="1491654" cy="523831"/>
            </a:xfrm>
            <a:prstGeom prst="rect">
              <a:avLst/>
            </a:prstGeom>
            <a:grpFill/>
          </p:spPr>
          <p:txBody>
            <a:bodyPr vert="horz" wrap="square" lIns="0" tIns="45731" rIns="0" bIns="0" rtlCol="0">
              <a:spAutoFit/>
            </a:bodyPr>
            <a:lstStyle/>
            <a:p>
              <a:pPr marL="18666" marR="0" lvl="0" indent="0" defTabSz="1014989" eaLnBrk="0" fontAlgn="base" latinLnBrk="0" hangingPunct="0">
                <a:lnSpc>
                  <a:spcPct val="100000"/>
                </a:lnSpc>
                <a:spcBef>
                  <a:spcPts val="566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4703" b="1" i="0" u="none" strike="noStrike" kern="0" cap="none" spc="-7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80,7</a:t>
              </a:r>
              <a:endParaRPr kumimoji="0" sz="4703" b="1" i="0" u="none" strike="noStrike" kern="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1892373" y="3336816"/>
              <a:ext cx="974173" cy="247537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81198" lvl="0" indent="0" algn="ctr" defTabSz="1014989" eaLnBrk="0" fontAlgn="base" latinLnBrk="0" hangingPunct="0">
                <a:lnSpc>
                  <a:spcPct val="100000"/>
                </a:lnSpc>
                <a:spcBef>
                  <a:spcPts val="389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025 </a:t>
              </a:r>
              <a:r>
                <a:rPr kumimoji="0" lang="ru-RU" sz="1764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жыл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475385" y="4031517"/>
              <a:ext cx="719824" cy="247537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defTabSz="1014989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млрд</a:t>
              </a:r>
              <a:r>
                <a:rPr kumimoji="0" lang="en-US" sz="1764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$</a:t>
              </a:r>
              <a:endParaRPr kumimoji="0" lang="ru-RU" sz="1764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1974768" y="4012161"/>
              <a:ext cx="719824" cy="247537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defTabSz="1014989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млрд</a:t>
              </a:r>
              <a:r>
                <a:rPr kumimoji="0" lang="en-US" sz="1764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$</a:t>
              </a:r>
              <a:endParaRPr kumimoji="0" lang="ru-RU" sz="1764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9" name="Прямоугольник 28"/>
          <p:cNvSpPr/>
          <p:nvPr/>
        </p:nvSpPr>
        <p:spPr>
          <a:xfrm>
            <a:off x="11103437" y="4926893"/>
            <a:ext cx="131510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6 </a:t>
            </a:r>
            <a:r>
              <a:rPr lang="ru-RU" sz="1764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764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bject 6"/>
          <p:cNvSpPr txBox="1"/>
          <p:nvPr/>
        </p:nvSpPr>
        <p:spPr>
          <a:xfrm>
            <a:off x="11159991" y="5270859"/>
            <a:ext cx="1299888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3,3</a:t>
            </a:r>
            <a:endParaRPr sz="4703" b="1" spc="-7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1288797" y="5922400"/>
            <a:ext cx="97174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</a:t>
            </a:r>
            <a:r>
              <a:rPr lang="en-US" sz="1764" b="1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$</a:t>
            </a:r>
            <a:endParaRPr lang="ru-RU" sz="1764" b="1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Chevron2">
            <a:extLst>
              <a:ext uri="{FF2B5EF4-FFF2-40B4-BE49-F238E27FC236}">
                <a16:creationId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8780715" y="5444751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3" name="Chevron1">
            <a:extLst>
              <a:ext uri="{FF2B5EF4-FFF2-40B4-BE49-F238E27FC236}">
                <a16:creationId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8639094" y="5493914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4" name="Chevron2">
            <a:extLst>
              <a:ext uri="{FF2B5EF4-FFF2-40B4-BE49-F238E27FC236}">
                <a16:creationId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10747558" y="5443411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5" name="Chevron1">
            <a:extLst>
              <a:ext uri="{FF2B5EF4-FFF2-40B4-BE49-F238E27FC236}">
                <a16:creationId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10605937" y="5492574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6" name="object 6"/>
          <p:cNvSpPr txBox="1"/>
          <p:nvPr/>
        </p:nvSpPr>
        <p:spPr>
          <a:xfrm>
            <a:off x="1057391" y="2373282"/>
            <a:ext cx="2192362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0</a:t>
            </a:r>
            <a:endParaRPr sz="4703" b="1" spc="-7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07951" y="2082676"/>
            <a:ext cx="131510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764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764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037696" y="3045451"/>
            <a:ext cx="99758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лн ₸</a:t>
            </a:r>
          </a:p>
        </p:txBody>
      </p:sp>
      <p:sp>
        <p:nvSpPr>
          <p:cNvPr id="39" name="object 6"/>
          <p:cNvSpPr txBox="1"/>
          <p:nvPr/>
        </p:nvSpPr>
        <p:spPr>
          <a:xfrm>
            <a:off x="3147967" y="2363950"/>
            <a:ext cx="2192362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0</a:t>
            </a:r>
            <a:endParaRPr sz="4703" b="1" spc="-7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2989195" y="2073343"/>
            <a:ext cx="131510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5 </a:t>
            </a:r>
            <a:r>
              <a:rPr lang="ru-RU" sz="1764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764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4997611" y="3036833"/>
            <a:ext cx="99758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лн ₸</a:t>
            </a:r>
          </a:p>
        </p:txBody>
      </p:sp>
      <p:sp>
        <p:nvSpPr>
          <p:cNvPr id="43" name="object 6"/>
          <p:cNvSpPr txBox="1"/>
          <p:nvPr/>
        </p:nvSpPr>
        <p:spPr>
          <a:xfrm>
            <a:off x="5089217" y="2373282"/>
            <a:ext cx="2192362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0</a:t>
            </a:r>
            <a:endParaRPr sz="4703" b="1" spc="-7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4921112" y="2082676"/>
            <a:ext cx="131510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6 </a:t>
            </a:r>
            <a:r>
              <a:rPr lang="ru-RU" sz="1764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764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Chevron2">
            <a:extLst>
              <a:ext uri="{FF2B5EF4-FFF2-40B4-BE49-F238E27FC236}">
                <a16:creationId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8760413" y="2591988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49" name="Chevron1">
            <a:extLst>
              <a:ext uri="{FF2B5EF4-FFF2-40B4-BE49-F238E27FC236}">
                <a16:creationId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8618792" y="2641152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50" name="Chevron2">
            <a:extLst>
              <a:ext uri="{FF2B5EF4-FFF2-40B4-BE49-F238E27FC236}">
                <a16:creationId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10728862" y="2640888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51" name="Chevron1">
            <a:extLst>
              <a:ext uri="{FF2B5EF4-FFF2-40B4-BE49-F238E27FC236}">
                <a16:creationId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10587241" y="2690051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52" name="object 6"/>
          <p:cNvSpPr txBox="1"/>
          <p:nvPr/>
        </p:nvSpPr>
        <p:spPr>
          <a:xfrm>
            <a:off x="7301721" y="2398534"/>
            <a:ext cx="1006844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,9</a:t>
            </a:r>
            <a:endParaRPr sz="4703" b="1" spc="-7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7110210" y="2093682"/>
            <a:ext cx="131510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764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764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7231054" y="3051583"/>
            <a:ext cx="99758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лн ₸</a:t>
            </a:r>
          </a:p>
        </p:txBody>
      </p:sp>
      <p:sp>
        <p:nvSpPr>
          <p:cNvPr id="55" name="object 6"/>
          <p:cNvSpPr txBox="1"/>
          <p:nvPr/>
        </p:nvSpPr>
        <p:spPr>
          <a:xfrm>
            <a:off x="9409319" y="2396775"/>
            <a:ext cx="1106162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,3</a:t>
            </a:r>
            <a:endParaRPr sz="4703" b="1" spc="-7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9207653" y="2093682"/>
            <a:ext cx="131510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5 </a:t>
            </a:r>
            <a:r>
              <a:rPr lang="ru-RU" sz="1764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764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9369321" y="3063326"/>
            <a:ext cx="99758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лн ₸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1103437" y="2094640"/>
            <a:ext cx="131510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6 </a:t>
            </a:r>
            <a:r>
              <a:rPr lang="ru-RU" sz="1764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764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object 6"/>
          <p:cNvSpPr txBox="1"/>
          <p:nvPr/>
        </p:nvSpPr>
        <p:spPr>
          <a:xfrm>
            <a:off x="11315084" y="2398001"/>
            <a:ext cx="1045941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,3</a:t>
            </a:r>
            <a:endParaRPr sz="4703" b="1" spc="-7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1272246" y="3053114"/>
            <a:ext cx="99758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лн ₸</a:t>
            </a:r>
          </a:p>
        </p:txBody>
      </p:sp>
      <p:sp>
        <p:nvSpPr>
          <p:cNvPr id="61" name="Rectangle 286">
            <a:extLst>
              <a:ext uri="{FF2B5EF4-FFF2-40B4-BE49-F238E27FC236}">
                <a16:creationId xmlns:a16="http://schemas.microsoft.com/office/drawing/2014/main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63410" y="6104942"/>
            <a:ext cx="5595496" cy="836138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671976" lvl="1" defTabSz="1343953" eaLnBrk="0" hangingPunct="0">
              <a:defRPr/>
            </a:pPr>
            <a:endParaRPr lang="en-US" sz="2205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1014434" y="6466771"/>
            <a:ext cx="1129540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70" b="1" i="1" dirty="0">
                <a:latin typeface="Arial" panose="020B0604020202020204" pitchFamily="34" charset="0"/>
                <a:cs typeface="Arial" panose="020B0604020202020204" pitchFamily="34" charset="0"/>
              </a:rPr>
              <a:t>$/баррель</a:t>
            </a:r>
          </a:p>
        </p:txBody>
      </p:sp>
      <p:sp>
        <p:nvSpPr>
          <p:cNvPr id="63" name="object 6"/>
          <p:cNvSpPr txBox="1"/>
          <p:nvPr/>
        </p:nvSpPr>
        <p:spPr>
          <a:xfrm>
            <a:off x="1183359" y="6003101"/>
            <a:ext cx="912490" cy="498609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2940" b="1" spc="-7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3,4</a:t>
            </a:r>
            <a:endParaRPr sz="2940" b="1" spc="-7" dirty="0">
              <a:solidFill>
                <a:srgbClr val="5B9BD5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1125435" y="5755052"/>
            <a:ext cx="1061829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latin typeface="Arial" panose="020B0604020202020204" pitchFamily="34" charset="0"/>
                <a:cs typeface="Arial" panose="020B0604020202020204" pitchFamily="34" charset="0"/>
              </a:rPr>
              <a:t>2024 год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2946345" y="6475122"/>
            <a:ext cx="1129540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70" b="1" i="1" dirty="0">
                <a:latin typeface="Arial" panose="020B0604020202020204" pitchFamily="34" charset="0"/>
                <a:cs typeface="Arial" panose="020B0604020202020204" pitchFamily="34" charset="0"/>
              </a:rPr>
              <a:t>$/баррель</a:t>
            </a:r>
          </a:p>
        </p:txBody>
      </p:sp>
      <p:sp>
        <p:nvSpPr>
          <p:cNvPr id="66" name="object 6"/>
          <p:cNvSpPr txBox="1"/>
          <p:nvPr/>
        </p:nvSpPr>
        <p:spPr>
          <a:xfrm>
            <a:off x="3131282" y="5993768"/>
            <a:ext cx="865495" cy="498609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2940" b="1" spc="-7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,2</a:t>
            </a:r>
            <a:endParaRPr sz="2940" b="1" spc="-7" dirty="0">
              <a:solidFill>
                <a:srgbClr val="5B9BD5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3064715" y="5754561"/>
            <a:ext cx="1061829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latin typeface="Arial" panose="020B0604020202020204" pitchFamily="34" charset="0"/>
                <a:cs typeface="Arial" panose="020B0604020202020204" pitchFamily="34" charset="0"/>
              </a:rPr>
              <a:t>2025 год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4843385" y="6458779"/>
            <a:ext cx="1129540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70" b="1" i="1" dirty="0">
                <a:latin typeface="Arial" panose="020B0604020202020204" pitchFamily="34" charset="0"/>
                <a:cs typeface="Arial" panose="020B0604020202020204" pitchFamily="34" charset="0"/>
              </a:rPr>
              <a:t>$/баррель</a:t>
            </a:r>
          </a:p>
        </p:txBody>
      </p:sp>
      <p:sp>
        <p:nvSpPr>
          <p:cNvPr id="69" name="object 6"/>
          <p:cNvSpPr txBox="1"/>
          <p:nvPr/>
        </p:nvSpPr>
        <p:spPr>
          <a:xfrm>
            <a:off x="5012465" y="6003100"/>
            <a:ext cx="1014986" cy="498609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2940" b="1" spc="-7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,8</a:t>
            </a:r>
            <a:endParaRPr sz="2940" b="1" spc="-7" dirty="0">
              <a:solidFill>
                <a:srgbClr val="5B9BD5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4944562" y="5755052"/>
            <a:ext cx="1061829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latin typeface="Arial" panose="020B0604020202020204" pitchFamily="34" charset="0"/>
                <a:cs typeface="Arial" panose="020B0604020202020204" pitchFamily="34" charset="0"/>
              </a:rPr>
              <a:t>2026 год</a:t>
            </a:r>
          </a:p>
        </p:txBody>
      </p:sp>
      <p:grpSp>
        <p:nvGrpSpPr>
          <p:cNvPr id="71" name="Группа 70"/>
          <p:cNvGrpSpPr/>
          <p:nvPr/>
        </p:nvGrpSpPr>
        <p:grpSpPr>
          <a:xfrm>
            <a:off x="762109" y="5230423"/>
            <a:ext cx="5669508" cy="435416"/>
            <a:chOff x="154261" y="703837"/>
            <a:chExt cx="6344196" cy="531540"/>
          </a:xfrm>
        </p:grpSpPr>
        <p:sp>
          <p:nvSpPr>
            <p:cNvPr id="72" name="Rectangle 286">
              <a:extLst>
                <a:ext uri="{FF2B5EF4-FFF2-40B4-BE49-F238E27FC236}">
                  <a16:creationId xmlns:a16="http://schemas.microsoft.com/office/drawing/2014/main" id="{96346146-8758-4B27-9047-53355E1E1E33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54261" y="703837"/>
              <a:ext cx="6301092" cy="531540"/>
            </a:xfrm>
            <a:prstGeom prst="roundRect">
              <a:avLst>
                <a:gd name="adj" fmla="val 0"/>
              </a:avLst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506328" marR="0" lvl="1" indent="165666" defTabSz="1014989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17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73" name="Rectangle 35">
              <a:extLst>
                <a:ext uri="{FF2B5EF4-FFF2-40B4-BE49-F238E27FC236}">
                  <a16:creationId xmlns:a16="http://schemas.microsoft.com/office/drawing/2014/main" id="{535F39BC-8A02-4A7A-A119-4CF9D3BA4712}"/>
                </a:ext>
              </a:extLst>
            </p:cNvPr>
            <p:cNvSpPr/>
            <p:nvPr/>
          </p:nvSpPr>
          <p:spPr>
            <a:xfrm>
              <a:off x="154261" y="703837"/>
              <a:ext cx="6344196" cy="45086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0" marR="0" lvl="0" indent="0" algn="ctr" defTabSz="1014989" eaLnBrk="0" fontAlgn="base" latinLnBrk="0" hangingPunct="0">
                <a:lnSpc>
                  <a:spcPct val="100000"/>
                </a:lnSpc>
                <a:spcBef>
                  <a:spcPts val="88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Мұнайдың</a:t>
              </a: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ru-RU" sz="18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кесімді</a:t>
              </a: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ru-RU" sz="18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бағасы</a:t>
              </a:r>
              <a:endPara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4" name="Google Shape;277;p4">
            <a:extLst>
              <a:ext uri="{FF2B5EF4-FFF2-40B4-BE49-F238E27FC236}">
                <a16:creationId xmlns:a16="http://schemas.microsoft.com/office/drawing/2014/main" id="{A4890DB9-70ED-4B69-81EE-791E043F083E}"/>
              </a:ext>
            </a:extLst>
          </p:cNvPr>
          <p:cNvGrpSpPr/>
          <p:nvPr/>
        </p:nvGrpSpPr>
        <p:grpSpPr>
          <a:xfrm rot="5400000">
            <a:off x="3421615" y="3244521"/>
            <a:ext cx="249837" cy="744972"/>
            <a:chOff x="6801474" y="1968366"/>
            <a:chExt cx="245504" cy="802802"/>
          </a:xfrm>
        </p:grpSpPr>
        <p:sp>
          <p:nvSpPr>
            <p:cNvPr id="75" name="Google Shape;278;p4">
              <a:extLst>
                <a:ext uri="{FF2B5EF4-FFF2-40B4-BE49-F238E27FC236}">
                  <a16:creationId xmlns:a16="http://schemas.microsoft.com/office/drawing/2014/main" id="{D0A977B9-EBFD-4F08-8A01-5C911C9052FA}"/>
                </a:ext>
              </a:extLst>
            </p:cNvPr>
            <p:cNvSpPr/>
            <p:nvPr/>
          </p:nvSpPr>
          <p:spPr>
            <a:xfrm>
              <a:off x="6846057" y="1968366"/>
              <a:ext cx="156341" cy="8028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134372" tIns="67168" rIns="134372" bIns="67168" anchor="ctr" anchorCtr="0">
              <a:noAutofit/>
            </a:bodyPr>
            <a:lstStyle>
              <a:defPPr>
                <a:defRPr lang="ru-RU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43985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7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76" name="Google Shape;279;p4">
              <a:extLst>
                <a:ext uri="{FF2B5EF4-FFF2-40B4-BE49-F238E27FC236}">
                  <a16:creationId xmlns:a16="http://schemas.microsoft.com/office/drawing/2014/main" id="{69ABD94F-698C-496B-BEA3-6CF29ABA110F}"/>
                </a:ext>
              </a:extLst>
            </p:cNvPr>
            <p:cNvGrpSpPr/>
            <p:nvPr/>
          </p:nvGrpSpPr>
          <p:grpSpPr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77" name="Google Shape;280;p4">
                <a:extLst>
                  <a:ext uri="{FF2B5EF4-FFF2-40B4-BE49-F238E27FC236}">
                    <a16:creationId xmlns:a16="http://schemas.microsoft.com/office/drawing/2014/main" id="{B87C21BB-5EA8-46BD-A3B7-F2672733E347}"/>
                  </a:ext>
                </a:extLst>
              </p:cNvPr>
              <p:cNvSpPr/>
              <p:nvPr/>
            </p:nvSpPr>
            <p:spPr>
              <a:xfrm>
                <a:off x="6191200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FFFFFF">
                    <a:lumMod val="75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34398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7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78" name="Google Shape;281;p4">
                <a:extLst>
                  <a:ext uri="{FF2B5EF4-FFF2-40B4-BE49-F238E27FC236}">
                    <a16:creationId xmlns:a16="http://schemas.microsoft.com/office/drawing/2014/main" id="{D08734E6-AAD7-4DCF-95A6-27BFF74A6756}"/>
                  </a:ext>
                </a:extLst>
              </p:cNvPr>
              <p:cNvSpPr/>
              <p:nvPr/>
            </p:nvSpPr>
            <p:spPr>
              <a:xfrm>
                <a:off x="6434275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FFFFFF">
                    <a:lumMod val="50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34398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7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</p:grpSp>
      </p:grpSp>
      <p:pic>
        <p:nvPicPr>
          <p:cNvPr id="79" name="Рисунок 78">
            <a:extLst>
              <a:ext uri="{FF2B5EF4-FFF2-40B4-BE49-F238E27FC236}">
                <a16:creationId xmlns:a16="http://schemas.microsoft.com/office/drawing/2014/main" id="{DCB6F59F-6330-6C04-E481-1A6F3F72670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duotone>
              <a:prstClr val="black"/>
              <a:sysClr val="window" lastClr="FFFFFF">
                <a:lumMod val="50000"/>
                <a:tint val="45000"/>
                <a:satMod val="400000"/>
              </a:sys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42" t="2948" r="-1"/>
          <a:stretch/>
        </p:blipFill>
        <p:spPr>
          <a:xfrm flipH="1">
            <a:off x="6579228" y="1260136"/>
            <a:ext cx="35385" cy="5472000"/>
          </a:xfrm>
          <a:prstGeom prst="rect">
            <a:avLst/>
          </a:prstGeom>
        </p:spPr>
      </p:pic>
      <p:pic>
        <p:nvPicPr>
          <p:cNvPr id="80" name="Picture 2" descr="Иконки верный. Скачать иконку верный. Страница 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5969" y="1293424"/>
            <a:ext cx="669689" cy="64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2" descr="Иконки верный. Скачать иконку верный. Страница 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6916" y="4076983"/>
            <a:ext cx="669689" cy="64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Прямоугольник 81"/>
          <p:cNvSpPr/>
          <p:nvPr/>
        </p:nvSpPr>
        <p:spPr>
          <a:xfrm>
            <a:off x="1008181" y="6478499"/>
            <a:ext cx="1129540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7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/баррель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1056896" y="5736636"/>
            <a:ext cx="1141980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47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47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2968967" y="6486850"/>
            <a:ext cx="1129540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7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/баррель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2996176" y="5736145"/>
            <a:ext cx="1141980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5 </a:t>
            </a:r>
            <a:r>
              <a:rPr lang="ru-RU" sz="147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47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4846757" y="6470507"/>
            <a:ext cx="1129540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7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/баррель</a:t>
            </a:r>
          </a:p>
        </p:txBody>
      </p:sp>
      <p:sp>
        <p:nvSpPr>
          <p:cNvPr id="87" name="Прямоугольник 86"/>
          <p:cNvSpPr/>
          <p:nvPr/>
        </p:nvSpPr>
        <p:spPr>
          <a:xfrm>
            <a:off x="4876023" y="5736636"/>
            <a:ext cx="1141980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6 </a:t>
            </a:r>
            <a:r>
              <a:rPr lang="ru-RU" sz="147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47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30521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C986F002-251E-4842-8EAB-C1387EFEFEAD}"/>
              </a:ext>
            </a:extLst>
          </p:cNvPr>
          <p:cNvSpPr txBox="1">
            <a:spLocks/>
          </p:cNvSpPr>
          <p:nvPr/>
        </p:nvSpPr>
        <p:spPr>
          <a:xfrm>
            <a:off x="746322" y="252000"/>
            <a:ext cx="11951123" cy="46513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780581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70000"/>
              <a:buFontTx/>
              <a:buNone/>
              <a:defRPr sz="18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5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79912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359824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0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i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0" defTabSz="914400" eaLnBrk="0" fontAlgn="base" hangingPunct="0">
              <a:lnSpc>
                <a:spcPct val="90000"/>
              </a:lnSpc>
              <a:spcBef>
                <a:spcPts val="1102"/>
              </a:spcBef>
              <a:spcAft>
                <a:spcPct val="0"/>
              </a:spcAft>
              <a:buClrTx/>
              <a:buSzTx/>
            </a:pPr>
            <a:r>
              <a:rPr lang="ru-RU" sz="2940" b="1" dirty="0" err="1" smtClean="0">
                <a:solidFill>
                  <a:prstClr val="black"/>
                </a:solidFill>
                <a:latin typeface="Arial" panose="020B0604020202020204" pitchFamily="34" charset="0"/>
              </a:rPr>
              <a:t>Республикалық</a:t>
            </a:r>
            <a:r>
              <a:rPr lang="ru-RU" sz="2940" b="1" dirty="0" smtClean="0">
                <a:solidFill>
                  <a:prstClr val="black"/>
                </a:solidFill>
                <a:latin typeface="Arial" panose="020B0604020202020204" pitchFamily="34" charset="0"/>
              </a:rPr>
              <a:t> бюджет </a:t>
            </a:r>
            <a:r>
              <a:rPr lang="ru-RU" sz="2940" b="1" dirty="0" err="1" smtClean="0">
                <a:solidFill>
                  <a:prstClr val="black"/>
                </a:solidFill>
                <a:latin typeface="Arial" panose="020B0604020202020204" pitchFamily="34" charset="0"/>
              </a:rPr>
              <a:t>шығыстарының</a:t>
            </a:r>
            <a:r>
              <a:rPr lang="ru-RU" sz="2940" b="1" dirty="0" smtClean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sz="2940" b="1" dirty="0" err="1" smtClean="0">
                <a:solidFill>
                  <a:prstClr val="black"/>
                </a:solidFill>
                <a:latin typeface="Arial" panose="020B0604020202020204" pitchFamily="34" charset="0"/>
              </a:rPr>
              <a:t>өсу</a:t>
            </a:r>
            <a:r>
              <a:rPr lang="ru-RU" sz="2940" b="1" dirty="0" smtClean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sz="2940" b="1" dirty="0" err="1" smtClean="0">
                <a:solidFill>
                  <a:prstClr val="black"/>
                </a:solidFill>
                <a:latin typeface="Arial" panose="020B0604020202020204" pitchFamily="34" charset="0"/>
              </a:rPr>
              <a:t>қарқыны</a:t>
            </a:r>
            <a:endParaRPr lang="ru-RU" sz="2940" b="1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EA03EFF-93AD-4792-B7EA-E646FF5FFE89}"/>
              </a:ext>
            </a:extLst>
          </p:cNvPr>
          <p:cNvSpPr txBox="1"/>
          <p:nvPr/>
        </p:nvSpPr>
        <p:spPr>
          <a:xfrm>
            <a:off x="790561" y="3846535"/>
            <a:ext cx="5630988" cy="10877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250825" algn="just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617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трциклдік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тік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ғида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дың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і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емінен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пайды</a:t>
            </a:r>
            <a:endParaRPr lang="ru-RU" altLang="ru-RU" sz="1617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250825" algn="just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і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емі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4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24,3 трлн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                        2025-2026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ры</a:t>
            </a:r>
            <a:r>
              <a:rPr lang="ru-RU" altLang="ru-RU" sz="1617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25,9 трлн </a:t>
            </a:r>
            <a:r>
              <a:rPr lang="ru-RU" altLang="ru-RU" sz="1617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endParaRPr lang="ru-RU" altLang="ru-RU" sz="1617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7035597" y="1260136"/>
            <a:ext cx="5664809" cy="1042401"/>
            <a:chOff x="27660" y="515585"/>
            <a:chExt cx="6521231" cy="709236"/>
          </a:xfrm>
        </p:grpSpPr>
        <p:sp>
          <p:nvSpPr>
            <p:cNvPr id="11" name="Rectangle 35">
              <a:extLst>
                <a:ext uri="{FF2B5EF4-FFF2-40B4-BE49-F238E27FC236}">
                  <a16:creationId xmlns:a16="http://schemas.microsoft.com/office/drawing/2014/main" id="{535F39BC-8A02-4A7A-A119-4CF9D3BA4712}"/>
                </a:ext>
              </a:extLst>
            </p:cNvPr>
            <p:cNvSpPr/>
            <p:nvPr/>
          </p:nvSpPr>
          <p:spPr>
            <a:xfrm>
              <a:off x="763124" y="515585"/>
              <a:ext cx="5785767" cy="709236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>
              <a:spAutoFit/>
            </a:bodyPr>
            <a:lstStyle/>
            <a:p>
              <a:pPr marL="10" algn="ctr" defTabSz="1014989" eaLnBrk="0" fontAlgn="base" hangingPunct="0"/>
              <a:r>
                <a:rPr lang="ru-RU" sz="2058" b="1" kern="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ратегиялық</a:t>
              </a:r>
              <a:r>
                <a:rPr lang="ru-RU" sz="2058" b="1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2058" b="1" kern="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сымды</a:t>
              </a:r>
              <a:r>
                <a:rPr lang="kk-KZ" sz="2058" b="1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тарды</a:t>
              </a:r>
              <a:r>
                <a:rPr lang="ru-RU" sz="2058" b="1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marL="10" algn="ctr" defTabSz="1014989" eaLnBrk="0" fontAlgn="base" hangingPunct="0"/>
              <a:r>
                <a:rPr lang="ru-RU" sz="2058" b="1" kern="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іске</a:t>
              </a:r>
              <a:r>
                <a:rPr lang="ru-RU" sz="2058" b="1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2058" b="1" kern="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сыруға</a:t>
              </a:r>
              <a:r>
                <a:rPr lang="ru-RU" sz="2058" b="1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2058" b="1" kern="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ғытталған</a:t>
              </a:r>
              <a:r>
                <a:rPr lang="ru-RU" sz="2058" b="1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2058" b="1" kern="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ығыстардың</a:t>
              </a:r>
              <a:r>
                <a:rPr lang="ru-RU" sz="2058" b="1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2058" b="1" kern="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үлесі</a:t>
              </a:r>
              <a:endParaRPr lang="ru-RU" sz="2058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Oval 185">
              <a:extLst>
                <a:ext uri="{FF2B5EF4-FFF2-40B4-BE49-F238E27FC236}">
                  <a16:creationId xmlns:a16="http://schemas.microsoft.com/office/drawing/2014/main" id="{3D5333D7-A96D-4DCF-ADAD-3A127F185C55}"/>
                </a:ext>
              </a:extLst>
            </p:cNvPr>
            <p:cNvSpPr/>
            <p:nvPr/>
          </p:nvSpPr>
          <p:spPr bwMode="gray">
            <a:xfrm>
              <a:off x="27660" y="660414"/>
              <a:ext cx="680749" cy="391903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8784" tIns="49391" rIns="98784" bIns="493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343985">
                <a:defRPr/>
              </a:pPr>
              <a:endParaRPr lang="en-GB" sz="2352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sp>
        <p:nvSpPr>
          <p:cNvPr id="13" name="Прямоугольник 1"/>
          <p:cNvSpPr>
            <a:spLocks noChangeArrowheads="1"/>
          </p:cNvSpPr>
          <p:nvPr/>
        </p:nvSpPr>
        <p:spPr bwMode="auto">
          <a:xfrm>
            <a:off x="896313" y="1744821"/>
            <a:ext cx="4129258" cy="1247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9298" tIns="74647" rIns="149298" bIns="74647">
            <a:spAutoFit/>
          </a:bodyPr>
          <a:lstStyle>
            <a:lvl1pPr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559959" eaLnBrk="0" hangingPunct="0">
              <a:lnSpc>
                <a:spcPct val="101000"/>
              </a:lnSpc>
              <a:buClr>
                <a:srgbClr val="000000"/>
              </a:buClr>
              <a:defRPr/>
            </a:pPr>
            <a:r>
              <a:rPr lang="ru-RU" altLang="ru-RU" sz="2352" b="1" kern="0" dirty="0">
                <a:solidFill>
                  <a:prstClr val="black"/>
                </a:solidFill>
                <a:sym typeface="Arial Narrow" panose="020B0606020202030204" pitchFamily="34" charset="0"/>
              </a:rPr>
              <a:t>С</a:t>
            </a:r>
            <a:r>
              <a:rPr lang="ru-RU" altLang="ru-RU" sz="4703" b="1" kern="0" dirty="0">
                <a:solidFill>
                  <a:srgbClr val="00B050"/>
                </a:solidFill>
                <a:sym typeface="Arial Narrow" panose="020B0606020202030204" pitchFamily="34" charset="0"/>
              </a:rPr>
              <a:t> 2 400 </a:t>
            </a:r>
            <a:r>
              <a:rPr lang="ru-RU" altLang="ru-RU" sz="2352" b="1" kern="0" dirty="0">
                <a:solidFill>
                  <a:prstClr val="black"/>
                </a:solidFill>
                <a:sym typeface="Arial Narrow" panose="020B0606020202030204" pitchFamily="34" charset="0"/>
              </a:rPr>
              <a:t>млрд тенге</a:t>
            </a:r>
          </a:p>
          <a:p>
            <a:pPr algn="ctr" defTabSz="559959" eaLnBrk="0" hangingPunct="0">
              <a:lnSpc>
                <a:spcPct val="101000"/>
              </a:lnSpc>
              <a:buClr>
                <a:srgbClr val="000000"/>
              </a:buClr>
              <a:defRPr/>
            </a:pPr>
            <a:r>
              <a:rPr lang="kk-KZ" altLang="ru-RU" sz="2352" b="1" kern="0" dirty="0">
                <a:solidFill>
                  <a:prstClr val="black"/>
                </a:solidFill>
                <a:sym typeface="Arial Narrow" panose="020B0606020202030204" pitchFamily="34" charset="0"/>
              </a:rPr>
              <a:t>утвержденный</a:t>
            </a:r>
            <a:endParaRPr lang="ru-RU" altLang="ru-RU" sz="2352" b="1" kern="0" dirty="0">
              <a:solidFill>
                <a:prstClr val="black"/>
              </a:solidFill>
              <a:sym typeface="Arial Narrow" panose="020B0606020202030204" pitchFamily="34" charset="0"/>
            </a:endParaRPr>
          </a:p>
        </p:txBody>
      </p:sp>
      <p:sp>
        <p:nvSpPr>
          <p:cNvPr id="14" name="Rectangle 286">
            <a:extLst>
              <a:ext uri="{FF2B5EF4-FFF2-40B4-BE49-F238E27FC236}">
                <a16:creationId xmlns:a16="http://schemas.microsoft.com/office/drawing/2014/main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80513" y="1898722"/>
            <a:ext cx="5630986" cy="1929743"/>
          </a:xfrm>
          <a:prstGeom prst="roundRect">
            <a:avLst>
              <a:gd name="adj" fmla="val 0"/>
            </a:avLst>
          </a:prstGeom>
          <a:solidFill>
            <a:sysClr val="window" lastClr="FFFFFF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671976" lvl="1" defTabSz="1343953" eaLnBrk="0" hangingPunct="0">
              <a:defRPr/>
            </a:pPr>
            <a:endParaRPr lang="en-US" sz="2205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3D6261-C224-4FBC-B6E0-4EDC4CB82407}"/>
              </a:ext>
            </a:extLst>
          </p:cNvPr>
          <p:cNvSpPr txBox="1"/>
          <p:nvPr/>
        </p:nvSpPr>
        <p:spPr>
          <a:xfrm>
            <a:off x="752095" y="1274908"/>
            <a:ext cx="5659406" cy="725711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>
            <a:spAutoFit/>
          </a:bodyPr>
          <a:lstStyle/>
          <a:p>
            <a:pPr algn="ctr" defTabSz="101498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58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-2026 </a:t>
            </a:r>
            <a:r>
              <a:rPr lang="ru-RU" sz="2058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рға</a:t>
            </a:r>
            <a:r>
              <a:rPr lang="ru-RU" sz="2058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58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2058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58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лық</a:t>
            </a:r>
            <a:r>
              <a:rPr lang="ru-RU" sz="2058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58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тің</a:t>
            </a:r>
            <a:r>
              <a:rPr lang="ru-RU" sz="2058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58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ы</a:t>
            </a:r>
            <a:r>
              <a:rPr lang="ru-RU" sz="2058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2058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015763" y="3074165"/>
            <a:ext cx="99758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лн ₸</a:t>
            </a:r>
          </a:p>
        </p:txBody>
      </p:sp>
      <p:sp>
        <p:nvSpPr>
          <p:cNvPr id="17" name="Rectangle 286">
            <a:extLst>
              <a:ext uri="{FF2B5EF4-FFF2-40B4-BE49-F238E27FC236}">
                <a16:creationId xmlns:a16="http://schemas.microsoft.com/office/drawing/2014/main" id="{90E8E612-AD68-4E7B-AD80-1CCB60BA4FA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879290" y="1958520"/>
            <a:ext cx="5750188" cy="1812414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671976" lvl="1" defTabSz="1343953" eaLnBrk="0" hangingPunct="0">
              <a:defRPr/>
            </a:pPr>
            <a:endParaRPr lang="en-US" sz="2205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7014166" y="4244235"/>
            <a:ext cx="5686240" cy="725711"/>
            <a:chOff x="460671" y="645479"/>
            <a:chExt cx="6325205" cy="493764"/>
          </a:xfrm>
        </p:grpSpPr>
        <p:sp>
          <p:nvSpPr>
            <p:cNvPr id="19" name="Rectangle 35">
              <a:extLst>
                <a:ext uri="{FF2B5EF4-FFF2-40B4-BE49-F238E27FC236}">
                  <a16:creationId xmlns:a16="http://schemas.microsoft.com/office/drawing/2014/main" id="{535F39BC-8A02-4A7A-A119-4CF9D3BA4712}"/>
                </a:ext>
              </a:extLst>
            </p:cNvPr>
            <p:cNvSpPr/>
            <p:nvPr/>
          </p:nvSpPr>
          <p:spPr>
            <a:xfrm>
              <a:off x="1195178" y="645479"/>
              <a:ext cx="5590698" cy="493764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>
              <a:spAutoFit/>
            </a:bodyPr>
            <a:lstStyle/>
            <a:p>
              <a:pPr marL="10" algn="ctr" defTabSz="1014989" eaLnBrk="0" fontAlgn="base" hangingPunct="0">
                <a:spcBef>
                  <a:spcPts val="882"/>
                </a:spcBef>
              </a:pPr>
              <a:r>
                <a:rPr lang="ru-RU" sz="2058" b="1" kern="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ратегиялық</a:t>
              </a:r>
              <a:r>
                <a:rPr lang="ru-RU" sz="2058" b="1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2058" b="1" kern="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әне</a:t>
              </a:r>
              <a:r>
                <a:rPr lang="ru-RU" sz="2058" b="1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2058" b="1" kern="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юджеттік</a:t>
              </a:r>
              <a:r>
                <a:rPr lang="ru-RU" sz="2058" b="1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2058" b="1" kern="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оспарлауды</a:t>
              </a:r>
              <a:r>
                <a:rPr lang="ru-RU" sz="2058" b="1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2058" b="1" kern="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үндестіру</a:t>
              </a:r>
              <a:r>
                <a:rPr lang="ru-RU" sz="2058" b="1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2058" b="1" kern="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еңгейі</a:t>
              </a:r>
              <a:endParaRPr lang="ru-RU" sz="2058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Oval 185">
              <a:extLst>
                <a:ext uri="{FF2B5EF4-FFF2-40B4-BE49-F238E27FC236}">
                  <a16:creationId xmlns:a16="http://schemas.microsoft.com/office/drawing/2014/main" id="{3D5333D7-A96D-4DCF-ADAD-3A127F185C55}"/>
                </a:ext>
              </a:extLst>
            </p:cNvPr>
            <p:cNvSpPr/>
            <p:nvPr/>
          </p:nvSpPr>
          <p:spPr bwMode="gray">
            <a:xfrm>
              <a:off x="460671" y="714596"/>
              <a:ext cx="680771" cy="391903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8784" tIns="49391" rIns="98784" bIns="493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343985">
                <a:defRPr/>
              </a:pPr>
              <a:endParaRPr lang="en-GB" sz="2352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8468321" y="5230082"/>
            <a:ext cx="2987202" cy="1100180"/>
            <a:chOff x="1040783" y="3329980"/>
            <a:chExt cx="2212802" cy="748547"/>
          </a:xfrm>
          <a:noFill/>
        </p:grpSpPr>
        <p:sp>
          <p:nvSpPr>
            <p:cNvPr id="23" name="object 6"/>
            <p:cNvSpPr txBox="1"/>
            <p:nvPr/>
          </p:nvSpPr>
          <p:spPr>
            <a:xfrm>
              <a:off x="1142827" y="3544532"/>
              <a:ext cx="961818" cy="533995"/>
            </a:xfrm>
            <a:prstGeom prst="rect">
              <a:avLst/>
            </a:prstGeom>
          </p:spPr>
          <p:txBody>
            <a:bodyPr vert="horz" wrap="square" lIns="0" tIns="45731" rIns="0" bIns="0" rtlCol="0">
              <a:spAutoFit/>
            </a:bodyPr>
            <a:lstStyle>
              <a:defPPr>
                <a:defRPr lang="en-US"/>
              </a:defPPr>
              <a:lvl1pPr marL="18666" defTabSz="1014989" eaLnBrk="0" fontAlgn="base" hangingPunct="0">
                <a:spcBef>
                  <a:spcPts val="566"/>
                </a:spcBef>
                <a:spcAft>
                  <a:spcPct val="0"/>
                </a:spcAft>
                <a:defRPr sz="4703" b="1" spc="-7">
                  <a:solidFill>
                    <a:srgbClr val="00B050"/>
                  </a:solidFill>
                  <a:latin typeface="Arial"/>
                  <a:cs typeface="Arial"/>
                </a:defRPr>
              </a:lvl1pPr>
            </a:lstStyle>
            <a:p>
              <a:r>
                <a:rPr lang="kk-KZ" sz="4700" dirty="0">
                  <a:latin typeface="Arial" panose="020B0604020202020204" pitchFamily="34" charset="0"/>
                  <a:cs typeface="Arial" panose="020B0604020202020204" pitchFamily="34" charset="0"/>
                </a:rPr>
                <a:t>91</a:t>
              </a:r>
              <a:r>
                <a:rPr lang="kk-KZ" sz="3200" dirty="0">
                  <a:latin typeface="Arial" panose="020B0604020202020204" pitchFamily="34" charset="0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1040783" y="3331825"/>
              <a:ext cx="974178" cy="247537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R="81198" algn="ctr" defTabSz="1014989" eaLnBrk="0" fontAlgn="base" hangingPunct="0">
                <a:spcBef>
                  <a:spcPts val="389"/>
                </a:spcBef>
                <a:spcAft>
                  <a:spcPct val="0"/>
                </a:spcAft>
              </a:pPr>
              <a:r>
                <a:rPr lang="ru-RU" sz="1764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4 </a:t>
              </a:r>
              <a:r>
                <a:rPr lang="ru-RU" sz="1764" b="1" kern="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ыл</a:t>
              </a:r>
              <a:endParaRPr lang="ru-RU" sz="1764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object 6"/>
            <p:cNvSpPr txBox="1"/>
            <p:nvPr/>
          </p:nvSpPr>
          <p:spPr>
            <a:xfrm>
              <a:off x="2369107" y="3543335"/>
              <a:ext cx="814197" cy="533995"/>
            </a:xfrm>
            <a:prstGeom prst="rect">
              <a:avLst/>
            </a:prstGeom>
            <a:grpFill/>
          </p:spPr>
          <p:txBody>
            <a:bodyPr vert="horz" wrap="square" lIns="0" tIns="45731" rIns="0" bIns="0" rtlCol="0">
              <a:spAutoFit/>
            </a:bodyPr>
            <a:lstStyle/>
            <a:p>
              <a:pPr marL="18666" defTabSz="1014989" eaLnBrk="0" fontAlgn="base" hangingPunct="0">
                <a:spcBef>
                  <a:spcPts val="566"/>
                </a:spcBef>
                <a:spcAft>
                  <a:spcPct val="0"/>
                </a:spcAft>
              </a:pPr>
              <a:r>
                <a:rPr lang="ru-RU" sz="4700" b="1" spc="-7" dirty="0">
                  <a:solidFill>
                    <a:srgbClr val="00B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5</a:t>
              </a:r>
              <a:r>
                <a:rPr lang="ru-RU" sz="3200" b="1" spc="-7" dirty="0">
                  <a:solidFill>
                    <a:srgbClr val="00B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2279407" y="3329980"/>
              <a:ext cx="974178" cy="247537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R="81198" algn="ctr" defTabSz="1014989" eaLnBrk="0" fontAlgn="base" hangingPunct="0">
                <a:spcBef>
                  <a:spcPts val="389"/>
                </a:spcBef>
                <a:spcAft>
                  <a:spcPct val="0"/>
                </a:spcAft>
              </a:pPr>
              <a:r>
                <a:rPr lang="ru-RU" sz="1764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5 </a:t>
              </a:r>
              <a:r>
                <a:rPr lang="ru-RU" sz="1764" b="1" kern="0" dirty="0" err="1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ыл</a:t>
              </a:r>
              <a:endParaRPr lang="ru-RU" sz="1764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9" name="Прямоугольник 28"/>
          <p:cNvSpPr/>
          <p:nvPr/>
        </p:nvSpPr>
        <p:spPr>
          <a:xfrm>
            <a:off x="11704625" y="5219805"/>
            <a:ext cx="131510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6 </a:t>
            </a:r>
            <a:r>
              <a:rPr lang="ru-RU" sz="1764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764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bject 6"/>
          <p:cNvSpPr txBox="1"/>
          <p:nvPr/>
        </p:nvSpPr>
        <p:spPr>
          <a:xfrm>
            <a:off x="11871067" y="5533627"/>
            <a:ext cx="1299888" cy="784841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0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5</a:t>
            </a:r>
            <a:r>
              <a:rPr lang="kk-KZ" sz="3200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32" name="Chevron2">
            <a:extLst>
              <a:ext uri="{FF2B5EF4-FFF2-40B4-BE49-F238E27FC236}">
                <a16:creationId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9844111" y="5707519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3" name="Chevron1">
            <a:extLst>
              <a:ext uri="{FF2B5EF4-FFF2-40B4-BE49-F238E27FC236}">
                <a16:creationId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9702490" y="5756682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4" name="Chevron2">
            <a:extLst>
              <a:ext uri="{FF2B5EF4-FFF2-40B4-BE49-F238E27FC236}">
                <a16:creationId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11499466" y="5686083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5" name="Chevron1">
            <a:extLst>
              <a:ext uri="{FF2B5EF4-FFF2-40B4-BE49-F238E27FC236}">
                <a16:creationId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11357845" y="5735246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6" name="object 6"/>
          <p:cNvSpPr txBox="1"/>
          <p:nvPr/>
        </p:nvSpPr>
        <p:spPr>
          <a:xfrm>
            <a:off x="955219" y="2373282"/>
            <a:ext cx="1250178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,0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946451" y="2082676"/>
            <a:ext cx="131510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764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764" b="1" dirty="0">
              <a:solidFill>
                <a:srgbClr val="2E2E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106340" y="3055499"/>
            <a:ext cx="99758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лн ₸</a:t>
            </a:r>
          </a:p>
        </p:txBody>
      </p:sp>
      <p:sp>
        <p:nvSpPr>
          <p:cNvPr id="39" name="object 6"/>
          <p:cNvSpPr txBox="1"/>
          <p:nvPr/>
        </p:nvSpPr>
        <p:spPr>
          <a:xfrm>
            <a:off x="3045795" y="2363950"/>
            <a:ext cx="1267916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,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3027695" y="2073343"/>
            <a:ext cx="131510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5 </a:t>
            </a:r>
            <a:r>
              <a:rPr lang="ru-RU" sz="1764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764" b="1" dirty="0">
              <a:solidFill>
                <a:srgbClr val="2E2E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5066255" y="3046881"/>
            <a:ext cx="997581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764" b="1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лн ₸</a:t>
            </a:r>
          </a:p>
        </p:txBody>
      </p:sp>
      <p:sp>
        <p:nvSpPr>
          <p:cNvPr id="43" name="object 6"/>
          <p:cNvSpPr txBox="1"/>
          <p:nvPr/>
        </p:nvSpPr>
        <p:spPr>
          <a:xfrm>
            <a:off x="4987045" y="2373282"/>
            <a:ext cx="1283782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,2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4959612" y="2082676"/>
            <a:ext cx="131510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6 </a:t>
            </a:r>
            <a:r>
              <a:rPr lang="ru-RU" sz="1764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764" b="1" dirty="0">
              <a:solidFill>
                <a:srgbClr val="2E2E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Chevron2">
            <a:extLst>
              <a:ext uri="{FF2B5EF4-FFF2-40B4-BE49-F238E27FC236}">
                <a16:creationId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9050113" y="2873332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49" name="Chevron1">
            <a:extLst>
              <a:ext uri="{FF2B5EF4-FFF2-40B4-BE49-F238E27FC236}">
                <a16:creationId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8908492" y="2922496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50" name="Chevron2">
            <a:extLst>
              <a:ext uri="{FF2B5EF4-FFF2-40B4-BE49-F238E27FC236}">
                <a16:creationId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11058754" y="2861944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51" name="Chevron1">
            <a:extLst>
              <a:ext uri="{FF2B5EF4-FFF2-40B4-BE49-F238E27FC236}">
                <a16:creationId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10917133" y="2911107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52" name="object 6"/>
          <p:cNvSpPr txBox="1"/>
          <p:nvPr/>
        </p:nvSpPr>
        <p:spPr>
          <a:xfrm>
            <a:off x="7541181" y="2770310"/>
            <a:ext cx="1066078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9</a:t>
            </a:r>
            <a:r>
              <a:rPr lang="kk-KZ" sz="3200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sz="3200" b="1" spc="-7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7389862" y="2465458"/>
            <a:ext cx="131510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764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764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object 6"/>
          <p:cNvSpPr txBox="1"/>
          <p:nvPr/>
        </p:nvSpPr>
        <p:spPr>
          <a:xfrm>
            <a:off x="9608587" y="2768551"/>
            <a:ext cx="1106162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ru-RU" sz="4703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8</a:t>
            </a:r>
            <a:r>
              <a:rPr lang="ru-RU" sz="3200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487305" y="2465458"/>
            <a:ext cx="131510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5 </a:t>
            </a:r>
            <a:r>
              <a:rPr lang="ru-RU" sz="1764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764" b="1" dirty="0">
              <a:solidFill>
                <a:srgbClr val="2E2E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1383089" y="2466416"/>
            <a:ext cx="131510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6 </a:t>
            </a:r>
            <a:r>
              <a:rPr lang="ru-RU" sz="1764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764" b="1" dirty="0">
              <a:solidFill>
                <a:srgbClr val="2E2E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object 6"/>
          <p:cNvSpPr txBox="1"/>
          <p:nvPr/>
        </p:nvSpPr>
        <p:spPr>
          <a:xfrm>
            <a:off x="11524400" y="2769777"/>
            <a:ext cx="1045941" cy="769902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3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8</a:t>
            </a:r>
            <a:r>
              <a:rPr lang="kk-KZ" sz="3200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1052934" y="6356243"/>
            <a:ext cx="1129540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70" b="1" i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/баррель</a:t>
            </a:r>
          </a:p>
        </p:txBody>
      </p:sp>
      <p:sp>
        <p:nvSpPr>
          <p:cNvPr id="63" name="object 6"/>
          <p:cNvSpPr txBox="1"/>
          <p:nvPr/>
        </p:nvSpPr>
        <p:spPr>
          <a:xfrm>
            <a:off x="1048928" y="5922717"/>
            <a:ext cx="1325454" cy="498609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2940" b="1" spc="-7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8,0</a:t>
            </a:r>
            <a:r>
              <a:rPr lang="kk-KZ" sz="2646" b="1" spc="-7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kk-KZ" sz="2940" b="1" spc="-7" dirty="0">
              <a:solidFill>
                <a:srgbClr val="5B9BD5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1163935" y="5644524"/>
            <a:ext cx="1061829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год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2984845" y="6364594"/>
            <a:ext cx="1129540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70" b="1" i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/баррель</a:t>
            </a:r>
          </a:p>
        </p:txBody>
      </p:sp>
      <p:sp>
        <p:nvSpPr>
          <p:cNvPr id="66" name="object 6"/>
          <p:cNvSpPr txBox="1"/>
          <p:nvPr/>
        </p:nvSpPr>
        <p:spPr>
          <a:xfrm>
            <a:off x="2987226" y="5913384"/>
            <a:ext cx="1326488" cy="498609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2940" b="1" spc="-7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8,1</a:t>
            </a:r>
            <a:r>
              <a:rPr lang="kk-KZ" sz="2646" b="1" spc="-7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kk-KZ" sz="2940" b="1" spc="-7" dirty="0">
              <a:solidFill>
                <a:srgbClr val="5B9BD5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3103215" y="5644033"/>
            <a:ext cx="1061829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5 год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4881885" y="6348251"/>
            <a:ext cx="1129540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14989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70" b="1" i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/баррель</a:t>
            </a:r>
          </a:p>
        </p:txBody>
      </p:sp>
      <p:sp>
        <p:nvSpPr>
          <p:cNvPr id="69" name="object 6"/>
          <p:cNvSpPr txBox="1"/>
          <p:nvPr/>
        </p:nvSpPr>
        <p:spPr>
          <a:xfrm>
            <a:off x="4878033" y="5913384"/>
            <a:ext cx="1312409" cy="498609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2940" b="1" spc="-7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8,6</a:t>
            </a:r>
            <a:r>
              <a:rPr lang="kk-KZ" sz="2646" b="1" spc="-7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kk-KZ" sz="2940" b="1" spc="-7" dirty="0">
              <a:solidFill>
                <a:srgbClr val="5B9BD5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4983062" y="5644524"/>
            <a:ext cx="1061829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6 год</a:t>
            </a:r>
          </a:p>
        </p:txBody>
      </p:sp>
      <p:grpSp>
        <p:nvGrpSpPr>
          <p:cNvPr id="71" name="Группа 70"/>
          <p:cNvGrpSpPr/>
          <p:nvPr/>
        </p:nvGrpSpPr>
        <p:grpSpPr>
          <a:xfrm>
            <a:off x="800609" y="5119895"/>
            <a:ext cx="5669508" cy="435416"/>
            <a:chOff x="154261" y="703837"/>
            <a:chExt cx="6344196" cy="531540"/>
          </a:xfrm>
        </p:grpSpPr>
        <p:sp>
          <p:nvSpPr>
            <p:cNvPr id="72" name="Rectangle 286">
              <a:extLst>
                <a:ext uri="{FF2B5EF4-FFF2-40B4-BE49-F238E27FC236}">
                  <a16:creationId xmlns:a16="http://schemas.microsoft.com/office/drawing/2014/main" id="{96346146-8758-4B27-9047-53355E1E1E33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54261" y="703837"/>
              <a:ext cx="6301092" cy="531540"/>
            </a:xfrm>
            <a:prstGeom prst="roundRect">
              <a:avLst>
                <a:gd name="adj" fmla="val 0"/>
              </a:avLst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506328" lvl="1" indent="165666" defTabSz="101498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17" kern="0" dirty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73" name="Rectangle 35">
              <a:extLst>
                <a:ext uri="{FF2B5EF4-FFF2-40B4-BE49-F238E27FC236}">
                  <a16:creationId xmlns:a16="http://schemas.microsoft.com/office/drawing/2014/main" id="{535F39BC-8A02-4A7A-A119-4CF9D3BA4712}"/>
                </a:ext>
              </a:extLst>
            </p:cNvPr>
            <p:cNvSpPr/>
            <p:nvPr/>
          </p:nvSpPr>
          <p:spPr>
            <a:xfrm>
              <a:off x="154261" y="703837"/>
              <a:ext cx="6344196" cy="4132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0" algn="ctr" defTabSz="1014989" eaLnBrk="0" fontAlgn="base" hangingPunct="0">
                <a:spcBef>
                  <a:spcPts val="882"/>
                </a:spcBef>
              </a:pPr>
              <a:r>
                <a:rPr lang="kk-KZ" sz="1600" b="1" kern="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ғидалар бойынша шығыстардың өсу қарқыны</a:t>
              </a:r>
              <a:endParaRPr lang="ru-RU" sz="16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4" name="Google Shape;277;p4">
            <a:extLst>
              <a:ext uri="{FF2B5EF4-FFF2-40B4-BE49-F238E27FC236}">
                <a16:creationId xmlns:a16="http://schemas.microsoft.com/office/drawing/2014/main" id="{A4890DB9-70ED-4B69-81EE-791E043F083E}"/>
              </a:ext>
            </a:extLst>
          </p:cNvPr>
          <p:cNvGrpSpPr/>
          <p:nvPr/>
        </p:nvGrpSpPr>
        <p:grpSpPr>
          <a:xfrm rot="5400000">
            <a:off x="3460115" y="3244521"/>
            <a:ext cx="249837" cy="744972"/>
            <a:chOff x="6801474" y="1968366"/>
            <a:chExt cx="245504" cy="802802"/>
          </a:xfrm>
        </p:grpSpPr>
        <p:sp>
          <p:nvSpPr>
            <p:cNvPr id="75" name="Google Shape;278;p4">
              <a:extLst>
                <a:ext uri="{FF2B5EF4-FFF2-40B4-BE49-F238E27FC236}">
                  <a16:creationId xmlns:a16="http://schemas.microsoft.com/office/drawing/2014/main" id="{D0A977B9-EBFD-4F08-8A01-5C911C9052FA}"/>
                </a:ext>
              </a:extLst>
            </p:cNvPr>
            <p:cNvSpPr/>
            <p:nvPr/>
          </p:nvSpPr>
          <p:spPr>
            <a:xfrm>
              <a:off x="6846057" y="1968366"/>
              <a:ext cx="156341" cy="8028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134372" tIns="67168" rIns="134372" bIns="67168" anchor="ctr" anchorCtr="0">
              <a:noAutofit/>
            </a:bodyPr>
            <a:lstStyle>
              <a:defPPr>
                <a:defRPr lang="ru-RU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343985" fontAlgn="base">
                <a:defRPr/>
              </a:pPr>
              <a:endParaRPr sz="1377" dirty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76" name="Google Shape;279;p4">
              <a:extLst>
                <a:ext uri="{FF2B5EF4-FFF2-40B4-BE49-F238E27FC236}">
                  <a16:creationId xmlns:a16="http://schemas.microsoft.com/office/drawing/2014/main" id="{69ABD94F-698C-496B-BEA3-6CF29ABA110F}"/>
                </a:ext>
              </a:extLst>
            </p:cNvPr>
            <p:cNvGrpSpPr/>
            <p:nvPr/>
          </p:nvGrpSpPr>
          <p:grpSpPr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77" name="Google Shape;280;p4">
                <a:extLst>
                  <a:ext uri="{FF2B5EF4-FFF2-40B4-BE49-F238E27FC236}">
                    <a16:creationId xmlns:a16="http://schemas.microsoft.com/office/drawing/2014/main" id="{B87C21BB-5EA8-46BD-A3B7-F2672733E347}"/>
                  </a:ext>
                </a:extLst>
              </p:cNvPr>
              <p:cNvSpPr/>
              <p:nvPr/>
            </p:nvSpPr>
            <p:spPr>
              <a:xfrm>
                <a:off x="6191200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FFFFFF">
                    <a:lumMod val="75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343985" fontAlgn="base">
                  <a:defRPr/>
                </a:pPr>
                <a:endParaRPr sz="1377" dirty="0">
                  <a:solidFill>
                    <a:srgbClr val="00000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78" name="Google Shape;281;p4">
                <a:extLst>
                  <a:ext uri="{FF2B5EF4-FFF2-40B4-BE49-F238E27FC236}">
                    <a16:creationId xmlns:a16="http://schemas.microsoft.com/office/drawing/2014/main" id="{D08734E6-AAD7-4DCF-95A6-27BFF74A6756}"/>
                  </a:ext>
                </a:extLst>
              </p:cNvPr>
              <p:cNvSpPr/>
              <p:nvPr/>
            </p:nvSpPr>
            <p:spPr>
              <a:xfrm>
                <a:off x="6434275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FFFFFF">
                    <a:lumMod val="50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343985" fontAlgn="base">
                  <a:defRPr/>
                </a:pPr>
                <a:endParaRPr sz="1377" dirty="0">
                  <a:solidFill>
                    <a:srgbClr val="000000"/>
                  </a:solidFill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</p:grpSp>
      </p:grpSp>
      <p:pic>
        <p:nvPicPr>
          <p:cNvPr id="79" name="Рисунок 78">
            <a:extLst>
              <a:ext uri="{FF2B5EF4-FFF2-40B4-BE49-F238E27FC236}">
                <a16:creationId xmlns:a16="http://schemas.microsoft.com/office/drawing/2014/main" id="{DCB6F59F-6330-6C04-E481-1A6F3F72670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duotone>
              <a:prstClr val="black"/>
              <a:sysClr val="window" lastClr="FFFFFF">
                <a:lumMod val="50000"/>
                <a:tint val="45000"/>
                <a:satMod val="400000"/>
              </a:sys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42" t="2948" r="-1"/>
          <a:stretch/>
        </p:blipFill>
        <p:spPr>
          <a:xfrm flipH="1">
            <a:off x="6617728" y="1260136"/>
            <a:ext cx="35385" cy="5472000"/>
          </a:xfrm>
          <a:prstGeom prst="rect">
            <a:avLst/>
          </a:prstGeom>
        </p:spPr>
      </p:pic>
      <p:pic>
        <p:nvPicPr>
          <p:cNvPr id="80" name="Picture 2" descr="Иконки верный. Скачать иконку верный. Страница 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1785" y="1440424"/>
            <a:ext cx="669689" cy="64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2" descr="Иконки верный. Скачать иконку верный. Страница 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4747" y="4318877"/>
            <a:ext cx="669689" cy="64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3" name="Прямоугольник 82"/>
          <p:cNvSpPr/>
          <p:nvPr/>
        </p:nvSpPr>
        <p:spPr>
          <a:xfrm>
            <a:off x="1095396" y="5626108"/>
            <a:ext cx="1141980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</a:t>
            </a:r>
            <a:r>
              <a:rPr lang="ru-RU" sz="1470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470" b="1" dirty="0">
              <a:solidFill>
                <a:srgbClr val="2E2E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Прямоугольник 84"/>
          <p:cNvSpPr/>
          <p:nvPr/>
        </p:nvSpPr>
        <p:spPr>
          <a:xfrm>
            <a:off x="3034675" y="5625617"/>
            <a:ext cx="1141980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5 </a:t>
            </a:r>
            <a:r>
              <a:rPr lang="ru-RU" sz="1470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470" b="1" dirty="0">
              <a:solidFill>
                <a:srgbClr val="2E2E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4914523" y="5626108"/>
            <a:ext cx="1141980" cy="3185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470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6 </a:t>
            </a:r>
            <a:r>
              <a:rPr lang="ru-RU" sz="1470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470" b="1" dirty="0">
              <a:solidFill>
                <a:srgbClr val="2E2E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6886501" y="5227550"/>
            <a:ext cx="1315105" cy="36381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R="81198" algn="ctr" defTabSz="1014989" eaLnBrk="0" fontAlgn="base" hangingPunct="0">
              <a:spcBef>
                <a:spcPts val="389"/>
              </a:spcBef>
              <a:spcAft>
                <a:spcPct val="0"/>
              </a:spcAft>
            </a:pPr>
            <a:r>
              <a:rPr lang="ru-RU" sz="1764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764" b="1" kern="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764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Chevron2">
            <a:extLst>
              <a:ext uri="{FF2B5EF4-FFF2-40B4-BE49-F238E27FC236}">
                <a16:creationId xmlns:a16="http://schemas.microsoft.com/office/drawing/2014/main" id="{1E2421CE-B20B-48E1-94C3-9195508A7007}"/>
              </a:ext>
            </a:extLst>
          </p:cNvPr>
          <p:cNvSpPr>
            <a:spLocks noChangeAspect="1"/>
          </p:cNvSpPr>
          <p:nvPr/>
        </p:nvSpPr>
        <p:spPr>
          <a:xfrm flipV="1">
            <a:off x="8255642" y="5687763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93" name="Chevron1">
            <a:extLst>
              <a:ext uri="{FF2B5EF4-FFF2-40B4-BE49-F238E27FC236}">
                <a16:creationId xmlns:a16="http://schemas.microsoft.com/office/drawing/2014/main" id="{A0030B93-22EC-458D-9FE2-3CDBE3362F8C}"/>
              </a:ext>
            </a:extLst>
          </p:cNvPr>
          <p:cNvSpPr>
            <a:spLocks noChangeAspect="1"/>
          </p:cNvSpPr>
          <p:nvPr/>
        </p:nvSpPr>
        <p:spPr>
          <a:xfrm flipV="1">
            <a:off x="8114021" y="5736926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algn="ctr" defTabSz="1343985">
              <a:defRPr/>
            </a:pPr>
            <a:endParaRPr lang="ru-RU" sz="2352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94" name="object 6"/>
          <p:cNvSpPr txBox="1"/>
          <p:nvPr/>
        </p:nvSpPr>
        <p:spPr>
          <a:xfrm>
            <a:off x="7056203" y="5544748"/>
            <a:ext cx="1299888" cy="769453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defTabSz="1014989" eaLnBrk="0" fontAlgn="base" hangingPunct="0">
              <a:spcBef>
                <a:spcPts val="566"/>
              </a:spcBef>
              <a:spcAft>
                <a:spcPct val="0"/>
              </a:spcAft>
            </a:pPr>
            <a:r>
              <a:rPr lang="kk-KZ" sz="4700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2</a:t>
            </a:r>
            <a:r>
              <a:rPr lang="kk-KZ" sz="3200" b="1" spc="-7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7536984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986F002-251E-4842-8EAB-C1387EFEFEAD}"/>
              </a:ext>
            </a:extLst>
          </p:cNvPr>
          <p:cNvSpPr txBox="1">
            <a:spLocks/>
          </p:cNvSpPr>
          <p:nvPr/>
        </p:nvSpPr>
        <p:spPr>
          <a:xfrm>
            <a:off x="746322" y="252000"/>
            <a:ext cx="11951123" cy="46513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780581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70000"/>
              <a:buFontTx/>
              <a:buNone/>
              <a:defRPr sz="18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5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79912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359824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0" indent="-179912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i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780581" rtl="0" eaLnBrk="1" latinLnBrk="0" hangingPunct="1"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Aft>
                <a:spcPct val="0"/>
              </a:spcAft>
              <a:buClrTx/>
              <a:buSzTx/>
            </a:pPr>
            <a:r>
              <a:rPr lang="ru-RU" sz="2800" b="1" dirty="0" err="1" smtClean="0">
                <a:solidFill>
                  <a:srgbClr val="2E2E38"/>
                </a:solidFill>
                <a:latin typeface="Arial" panose="020B0604020202020204" pitchFamily="34" charset="0"/>
              </a:rPr>
              <a:t>Бюджеттік</a:t>
            </a:r>
            <a:r>
              <a:rPr lang="ru-RU" sz="2800" b="1" dirty="0" smtClean="0">
                <a:solidFill>
                  <a:srgbClr val="2E2E38"/>
                </a:solidFill>
                <a:latin typeface="Arial" panose="020B0604020202020204" pitchFamily="34" charset="0"/>
              </a:rPr>
              <a:t> </a:t>
            </a:r>
            <a:r>
              <a:rPr lang="ru-RU" sz="2800" b="1" dirty="0" err="1" smtClean="0">
                <a:solidFill>
                  <a:srgbClr val="2E2E38"/>
                </a:solidFill>
                <a:latin typeface="Arial" panose="020B0604020202020204" pitchFamily="34" charset="0"/>
              </a:rPr>
              <a:t>тәуекелдер</a:t>
            </a:r>
            <a:r>
              <a:rPr lang="ru-RU" sz="2800" b="1" dirty="0" smtClean="0">
                <a:solidFill>
                  <a:srgbClr val="2E2E38"/>
                </a:solidFill>
                <a:latin typeface="Arial" panose="020B0604020202020204" pitchFamily="34" charset="0"/>
              </a:rPr>
              <a:t> </a:t>
            </a:r>
            <a:r>
              <a:rPr lang="ru-RU" sz="2800" b="1" dirty="0" err="1" smtClean="0">
                <a:solidFill>
                  <a:srgbClr val="2E2E38"/>
                </a:solidFill>
                <a:latin typeface="Arial" panose="020B0604020202020204" pitchFamily="34" charset="0"/>
              </a:rPr>
              <a:t>және</a:t>
            </a:r>
            <a:r>
              <a:rPr lang="ru-RU" sz="2800" b="1" dirty="0" smtClean="0">
                <a:solidFill>
                  <a:srgbClr val="2E2E38"/>
                </a:solidFill>
                <a:latin typeface="Arial" panose="020B0604020202020204" pitchFamily="34" charset="0"/>
              </a:rPr>
              <a:t> </a:t>
            </a:r>
            <a:r>
              <a:rPr lang="ru-RU" sz="2800" b="1" dirty="0" err="1" smtClean="0">
                <a:solidFill>
                  <a:srgbClr val="2E2E38"/>
                </a:solidFill>
                <a:latin typeface="Arial" panose="020B0604020202020204" pitchFamily="34" charset="0"/>
              </a:rPr>
              <a:t>мемлекеттік</a:t>
            </a:r>
            <a:r>
              <a:rPr lang="ru-RU" sz="2800" b="1" dirty="0" smtClean="0">
                <a:solidFill>
                  <a:srgbClr val="2E2E38"/>
                </a:solidFill>
                <a:latin typeface="Arial" panose="020B0604020202020204" pitchFamily="34" charset="0"/>
              </a:rPr>
              <a:t> </a:t>
            </a:r>
            <a:r>
              <a:rPr lang="ru-RU" sz="2800" b="1" dirty="0" err="1" smtClean="0">
                <a:solidFill>
                  <a:srgbClr val="2E2E38"/>
                </a:solidFill>
                <a:latin typeface="Arial" panose="020B0604020202020204" pitchFamily="34" charset="0"/>
              </a:rPr>
              <a:t>қаржының</a:t>
            </a:r>
            <a:r>
              <a:rPr lang="ru-RU" sz="2800" b="1" dirty="0" smtClean="0">
                <a:solidFill>
                  <a:srgbClr val="2E2E38"/>
                </a:solidFill>
                <a:latin typeface="Arial" panose="020B0604020202020204" pitchFamily="34" charset="0"/>
              </a:rPr>
              <a:t> </a:t>
            </a:r>
            <a:r>
              <a:rPr lang="ru-RU" sz="2800" b="1" dirty="0" err="1" smtClean="0">
                <a:solidFill>
                  <a:srgbClr val="2E2E38"/>
                </a:solidFill>
                <a:latin typeface="Arial" panose="020B0604020202020204" pitchFamily="34" charset="0"/>
              </a:rPr>
              <a:t>ұзақ</a:t>
            </a:r>
            <a:r>
              <a:rPr lang="ru-RU" sz="2800" b="1" dirty="0" smtClean="0">
                <a:solidFill>
                  <a:srgbClr val="2E2E38"/>
                </a:solidFill>
                <a:latin typeface="Arial" panose="020B0604020202020204" pitchFamily="34" charset="0"/>
              </a:rPr>
              <a:t> </a:t>
            </a:r>
            <a:r>
              <a:rPr lang="ru-RU" sz="2800" b="1" dirty="0" err="1" smtClean="0">
                <a:solidFill>
                  <a:srgbClr val="2E2E38"/>
                </a:solidFill>
                <a:latin typeface="Arial" panose="020B0604020202020204" pitchFamily="34" charset="0"/>
              </a:rPr>
              <a:t>мерзімді</a:t>
            </a:r>
            <a:r>
              <a:rPr lang="ru-RU" sz="2800" b="1" dirty="0" smtClean="0">
                <a:solidFill>
                  <a:srgbClr val="2E2E38"/>
                </a:solidFill>
                <a:latin typeface="Arial" panose="020B0604020202020204" pitchFamily="34" charset="0"/>
              </a:rPr>
              <a:t> </a:t>
            </a:r>
            <a:r>
              <a:rPr lang="ru-RU" sz="2800" b="1" dirty="0" err="1" smtClean="0">
                <a:solidFill>
                  <a:srgbClr val="2E2E38"/>
                </a:solidFill>
                <a:latin typeface="Arial" panose="020B0604020202020204" pitchFamily="34" charset="0"/>
              </a:rPr>
              <a:t>тұрақтылығы</a:t>
            </a:r>
            <a:r>
              <a:rPr lang="ru-RU" sz="2800" b="1" dirty="0" smtClean="0">
                <a:solidFill>
                  <a:srgbClr val="2E2E38"/>
                </a:solidFill>
                <a:latin typeface="Arial" panose="020B0604020202020204" pitchFamily="34" charset="0"/>
              </a:rPr>
              <a:t> </a:t>
            </a:r>
            <a:r>
              <a:rPr lang="ru-RU" sz="2800" b="1" dirty="0" err="1" smtClean="0">
                <a:solidFill>
                  <a:srgbClr val="2E2E38"/>
                </a:solidFill>
                <a:latin typeface="Arial" panose="020B0604020202020204" pitchFamily="34" charset="0"/>
              </a:rPr>
              <a:t>туралы</a:t>
            </a:r>
            <a:r>
              <a:rPr lang="ru-RU" sz="2800" b="1" dirty="0" smtClean="0">
                <a:solidFill>
                  <a:srgbClr val="2E2E38"/>
                </a:solidFill>
                <a:latin typeface="Arial" panose="020B0604020202020204" pitchFamily="34" charset="0"/>
              </a:rPr>
              <a:t> </a:t>
            </a:r>
            <a:r>
              <a:rPr lang="ru-RU" sz="2800" b="1" dirty="0" err="1" smtClean="0">
                <a:solidFill>
                  <a:srgbClr val="2E2E38"/>
                </a:solidFill>
                <a:latin typeface="Arial" panose="020B0604020202020204" pitchFamily="34" charset="0"/>
              </a:rPr>
              <a:t>есеп</a:t>
            </a:r>
            <a:endParaRPr lang="ru-RU" sz="2800" b="1" dirty="0">
              <a:solidFill>
                <a:srgbClr val="2E2E38"/>
              </a:solidFill>
              <a:latin typeface="Arial" panose="020B060402020202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C3D6261-C224-4FBC-B6E0-4EDC4CB82407}"/>
              </a:ext>
            </a:extLst>
          </p:cNvPr>
          <p:cNvSpPr txBox="1"/>
          <p:nvPr/>
        </p:nvSpPr>
        <p:spPr>
          <a:xfrm>
            <a:off x="1150148" y="1285311"/>
            <a:ext cx="11371630" cy="606769"/>
          </a:xfrm>
          <a:prstGeom prst="rect">
            <a:avLst/>
          </a:prstGeom>
          <a:solidFill>
            <a:schemeClr val="tx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10" algn="just" defTabSz="1014989" eaLnBrk="0" fontAlgn="base" hangingPunct="0">
              <a:spcBef>
                <a:spcPts val="882"/>
              </a:spcBef>
              <a:defRPr/>
            </a:pPr>
            <a:r>
              <a:rPr lang="ru-RU" sz="1800" b="1" u="sng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тік</a:t>
            </a:r>
            <a:r>
              <a:rPr lang="ru-RU" sz="1800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1" u="sng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800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1" u="sng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800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b="1" u="sng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</a:t>
            </a:r>
            <a:r>
              <a:rPr lang="ru-RU" sz="1800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543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543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ТЕ)</a:t>
            </a:r>
            <a:r>
              <a:rPr lang="ru-RU" sz="1543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3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543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тік</a:t>
            </a:r>
            <a:r>
              <a:rPr lang="ru-RU" sz="1543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3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аметрлердің</a:t>
            </a:r>
            <a:r>
              <a:rPr lang="ru-RU" sz="1543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3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ртқы</a:t>
            </a:r>
            <a:r>
              <a:rPr lang="ru-RU" sz="1543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3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роэкономикалық</a:t>
            </a:r>
            <a:r>
              <a:rPr lang="ru-RU" sz="1543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3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дерге</a:t>
            </a:r>
            <a:r>
              <a:rPr lang="ru-RU" sz="1543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3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шырауын</a:t>
            </a:r>
            <a:r>
              <a:rPr lang="ru-RU" sz="1543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3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у</a:t>
            </a:r>
            <a:r>
              <a:rPr lang="ru-RU" sz="1543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3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543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3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ау</a:t>
            </a:r>
            <a:r>
              <a:rPr lang="ru-RU" sz="1543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БТЕ </a:t>
            </a:r>
            <a:r>
              <a:rPr lang="ru-RU" sz="1543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мы</a:t>
            </a:r>
            <a:r>
              <a:rPr lang="ru-RU" sz="1543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3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дердің</a:t>
            </a:r>
            <a:r>
              <a:rPr lang="ru-RU" sz="1543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3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ымдылығын</a:t>
            </a:r>
            <a:r>
              <a:rPr lang="ru-RU" sz="1543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3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қындайды</a:t>
            </a:r>
            <a:endParaRPr lang="ru-RU" sz="1543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EA03EFF-93AD-4792-B7EA-E646FF5FFE89}"/>
              </a:ext>
            </a:extLst>
          </p:cNvPr>
          <p:cNvSpPr txBox="1"/>
          <p:nvPr/>
        </p:nvSpPr>
        <p:spPr>
          <a:xfrm>
            <a:off x="807492" y="1921482"/>
            <a:ext cx="5899229" cy="22639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1997" indent="251997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7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сценарий –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ұнай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сының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-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уі</a:t>
            </a:r>
            <a:endParaRPr lang="ru-RU" altLang="ru-RU" sz="1323" b="1" dirty="0">
              <a:solidFill>
                <a:srgbClr val="2E2E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1997" indent="251997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7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сценарий </a:t>
            </a:r>
            <a:r>
              <a:rPr lang="ru-RU" altLang="ru-RU" sz="147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D/KZT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мын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%-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сіреуі</a:t>
            </a:r>
            <a:endParaRPr lang="ru-RU" altLang="ru-RU" sz="1323" b="1" dirty="0">
              <a:solidFill>
                <a:srgbClr val="2E2E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1997" indent="251997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7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сценарий –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ұнай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ортын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%-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ту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altLang="ru-RU" sz="1323" b="1" dirty="0">
              <a:solidFill>
                <a:srgbClr val="2E2E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1997" indent="251997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7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сценарий </a:t>
            </a:r>
            <a:r>
              <a:rPr lang="ru-RU" altLang="ru-RU" sz="147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altLang="ru-RU" sz="1323" b="1" dirty="0" err="1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нен</a:t>
            </a:r>
            <a:r>
              <a:rPr lang="ru-RU" altLang="ru-RU" sz="1323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altLang="ru-RU" sz="1323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йын</a:t>
            </a:r>
            <a:r>
              <a:rPr lang="ru-RU" altLang="ru-RU" sz="1323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 </a:t>
            </a:r>
            <a:r>
              <a:rPr lang="ru-RU" altLang="ru-RU" sz="1323" b="1" dirty="0" err="1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ыздық</a:t>
            </a:r>
            <a:r>
              <a:rPr lang="ru-RU" altLang="ru-RU" sz="1323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маққа</a:t>
            </a:r>
            <a:r>
              <a:rPr lang="ru-RU" altLang="ru-RU" sz="1323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те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рып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тыну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сының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ексін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altLang="ru-RU" sz="1323" b="1" dirty="0" err="1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ың</a:t>
            </a:r>
            <a:r>
              <a:rPr lang="ru-RU" altLang="ru-RU" sz="1323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ңына</a:t>
            </a:r>
            <a:r>
              <a:rPr lang="ru-RU" altLang="ru-RU" sz="1323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й</a:t>
            </a:r>
            <a:r>
              <a:rPr lang="ru-RU" altLang="ru-RU" sz="1323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5%-</a:t>
            </a:r>
            <a:r>
              <a:rPr lang="ru-RU" altLang="ru-RU" sz="1323" b="1" dirty="0" err="1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altLang="ru-RU" sz="1323" b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ттыру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altLang="ru-RU" sz="1323" b="1" dirty="0">
              <a:solidFill>
                <a:srgbClr val="2E2E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1997" indent="251997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7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ru-RU" altLang="ru-RU" sz="147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ценарий – 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Р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іптес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лдерінің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алық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уінің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яулауы</a:t>
            </a:r>
            <a:endParaRPr lang="ru-RU" altLang="ru-RU" sz="1470" b="1" dirty="0">
              <a:solidFill>
                <a:srgbClr val="2E2E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1997" indent="251997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7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сценарий –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ртқы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кторларды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троспективті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дауға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делген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323" b="1" dirty="0" err="1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алас</a:t>
            </a:r>
            <a:r>
              <a:rPr lang="ru-RU" altLang="ru-RU" sz="1323" b="1" dirty="0" smtClean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шок</a:t>
            </a:r>
            <a:endParaRPr lang="ru-RU" altLang="ru-RU" sz="1470" b="1" dirty="0">
              <a:solidFill>
                <a:srgbClr val="2E2E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160553" y="4233926"/>
            <a:ext cx="11342174" cy="566309"/>
          </a:xfrm>
          <a:prstGeom prst="rect">
            <a:avLst/>
          </a:prstGeom>
          <a:solidFill>
            <a:schemeClr val="tx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10" algn="just" defTabSz="1014989" eaLnBrk="0" fontAlgn="base" hangingPunct="0">
              <a:spcBef>
                <a:spcPts val="882"/>
              </a:spcBef>
              <a:defRPr/>
            </a:pPr>
            <a:r>
              <a:rPr lang="ru-RU" sz="154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нымен</a:t>
            </a:r>
            <a:r>
              <a:rPr lang="ru-RU" sz="154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ар</a:t>
            </a:r>
            <a:r>
              <a:rPr lang="ru-RU" sz="154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ТЕ-де </a:t>
            </a:r>
            <a:r>
              <a:rPr lang="ru-RU" sz="1540" b="1" u="sng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азимемлекеттік</a:t>
            </a:r>
            <a:r>
              <a:rPr lang="ru-RU" sz="1540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540" b="1" u="sng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sz="1540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0" b="1" u="sng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лары</a:t>
            </a:r>
            <a:r>
              <a:rPr lang="ru-RU" sz="154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апынан</a:t>
            </a:r>
            <a:r>
              <a:rPr lang="ru-RU" sz="154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дер</a:t>
            </a:r>
            <a:r>
              <a:rPr lang="ru-RU" sz="154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54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0" b="1" u="sng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-жекешелік</a:t>
            </a:r>
            <a:r>
              <a:rPr lang="ru-RU" sz="1540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0" b="1" u="sng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іптестік</a:t>
            </a:r>
            <a:r>
              <a:rPr lang="ru-RU" sz="1540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0" b="1" u="sng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мелер</a:t>
            </a:r>
            <a:r>
              <a:rPr lang="ru-RU" sz="1540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дауы</a:t>
            </a:r>
            <a:r>
              <a:rPr lang="ru-RU" sz="154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4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ылды</a:t>
            </a:r>
            <a:endParaRPr lang="ru-RU" sz="154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Rectangle 35">
            <a:extLst>
              <a:ext uri="{FF2B5EF4-FFF2-40B4-BE49-F238E27FC236}">
                <a16:creationId xmlns:a16="http://schemas.microsoft.com/office/drawing/2014/main" id="{535F39BC-8A02-4A7A-A119-4CF9D3BA4712}"/>
              </a:ext>
            </a:extLst>
          </p:cNvPr>
          <p:cNvSpPr/>
          <p:nvPr/>
        </p:nvSpPr>
        <p:spPr>
          <a:xfrm>
            <a:off x="5070313" y="5571576"/>
            <a:ext cx="2822771" cy="318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" algn="ctr" defTabSz="1014989" eaLnBrk="0" fontAlgn="base" hangingPunct="0">
              <a:spcBef>
                <a:spcPts val="882"/>
              </a:spcBef>
            </a:pPr>
            <a:r>
              <a:rPr lang="ru-RU" sz="1470" b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міртекті</a:t>
            </a:r>
            <a:r>
              <a:rPr lang="ru-RU" sz="147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70" b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тараптық</a:t>
            </a:r>
            <a:endParaRPr lang="ru-RU" sz="1470" b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1331369" y="5579722"/>
            <a:ext cx="2415483" cy="318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" algn="ctr" defTabSz="1014989" eaLnBrk="0" fontAlgn="base" hangingPunct="0">
              <a:spcBef>
                <a:spcPts val="882"/>
              </a:spcBef>
            </a:pPr>
            <a:r>
              <a:rPr lang="ru-RU" sz="147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sz="147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7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ценарий</a:t>
            </a:r>
          </a:p>
        </p:txBody>
      </p:sp>
      <p:sp>
        <p:nvSpPr>
          <p:cNvPr id="82" name="Rectangle 35">
            <a:extLst>
              <a:ext uri="{FF2B5EF4-FFF2-40B4-BE49-F238E27FC236}">
                <a16:creationId xmlns:a16="http://schemas.microsoft.com/office/drawing/2014/main" id="{535F39BC-8A02-4A7A-A119-4CF9D3BA4712}"/>
              </a:ext>
            </a:extLst>
          </p:cNvPr>
          <p:cNvSpPr/>
          <p:nvPr/>
        </p:nvSpPr>
        <p:spPr>
          <a:xfrm>
            <a:off x="8741092" y="5508708"/>
            <a:ext cx="3834452" cy="54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" algn="ctr" defTabSz="1014989" eaLnBrk="0" fontAlgn="base" hangingPunct="0">
              <a:spcBef>
                <a:spcPts val="882"/>
              </a:spcBef>
            </a:pPr>
            <a:r>
              <a:rPr lang="ru-RU" sz="147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47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7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ділігінің</a:t>
            </a:r>
            <a:r>
              <a:rPr lang="ru-RU" sz="147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ru-RU" sz="147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7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у</a:t>
            </a:r>
            <a:r>
              <a:rPr lang="ru-RU" sz="147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7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қынын</a:t>
            </a:r>
            <a:r>
              <a:rPr lang="ru-RU" sz="147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7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делдету</a:t>
            </a:r>
            <a:endParaRPr lang="ru-RU" sz="147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Rectangle 286">
            <a:extLst>
              <a:ext uri="{FF2B5EF4-FFF2-40B4-BE49-F238E27FC236}">
                <a16:creationId xmlns:a16="http://schemas.microsoft.com/office/drawing/2014/main" id="{96346146-8758-4B27-9047-53355E1E1E3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075724" y="2748109"/>
            <a:ext cx="5446054" cy="464387"/>
          </a:xfrm>
          <a:prstGeom prst="roundRect">
            <a:avLst>
              <a:gd name="adj" fmla="val 0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t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0" lvl="1" defTabSz="1014989" eaLnBrk="0" fontAlgn="base" hangingPunct="0">
              <a:spcBef>
                <a:spcPts val="882"/>
              </a:spcBef>
              <a:defRPr/>
            </a:pPr>
            <a:r>
              <a:rPr lang="ru-RU" sz="14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 </a:t>
            </a:r>
            <a:r>
              <a:rPr lang="ru-RU" sz="14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ясатының</a:t>
            </a:r>
            <a:r>
              <a:rPr lang="ru-RU" sz="14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імділігі</a:t>
            </a:r>
            <a:r>
              <a:rPr lang="ru-RU" sz="14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4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ақтылығын</a:t>
            </a:r>
            <a:r>
              <a:rPr lang="ru-RU" sz="14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ау</a:t>
            </a:r>
            <a:r>
              <a:rPr lang="ru-RU" sz="14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4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sz="14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тік</a:t>
            </a:r>
            <a:r>
              <a:rPr lang="ru-RU" sz="14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эффициенттердің</a:t>
            </a:r>
            <a:r>
              <a:rPr lang="ru-RU" sz="14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збесі</a:t>
            </a:r>
            <a:r>
              <a:rPr lang="ru-RU" sz="14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зірленді</a:t>
            </a:r>
            <a:endParaRPr lang="ru-RU" sz="14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7EA03EFF-93AD-4792-B7EA-E646FF5FFE89}"/>
              </a:ext>
            </a:extLst>
          </p:cNvPr>
          <p:cNvSpPr txBox="1"/>
          <p:nvPr/>
        </p:nvSpPr>
        <p:spPr>
          <a:xfrm>
            <a:off x="455880" y="5951616"/>
            <a:ext cx="388138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1997" indent="251997" algn="ctr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ясаттың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рмейтіндігі</a:t>
            </a:r>
            <a:endParaRPr lang="ru-RU" alt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1997" indent="251997" algn="ctr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жамына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</a:t>
            </a:r>
            <a:endParaRPr lang="ru-RU" alt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7EA03EFF-93AD-4792-B7EA-E646FF5FFE89}"/>
              </a:ext>
            </a:extLst>
          </p:cNvPr>
          <p:cNvSpPr txBox="1"/>
          <p:nvPr/>
        </p:nvSpPr>
        <p:spPr>
          <a:xfrm>
            <a:off x="4392670" y="5946671"/>
            <a:ext cx="381507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1997" indent="251997" algn="ctr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міртекті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маттық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ыдан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тарап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муға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шу</a:t>
            </a:r>
            <a:endParaRPr lang="ru-RU" alt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1997" indent="251997" algn="ctr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ия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ымалдағыштар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н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тынуды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йту</a:t>
            </a:r>
            <a:endParaRPr lang="ru-RU" alt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EA03EFF-93AD-4792-B7EA-E646FF5FFE89}"/>
              </a:ext>
            </a:extLst>
          </p:cNvPr>
          <p:cNvSpPr txBox="1"/>
          <p:nvPr/>
        </p:nvSpPr>
        <p:spPr>
          <a:xfrm>
            <a:off x="8403445" y="6009255"/>
            <a:ext cx="429400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1997" indent="251997" algn="ctr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ділігін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ттыру</a:t>
            </a:r>
            <a:endParaRPr lang="ru-RU" alt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1997" indent="251997" algn="ctr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ділік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ғұрлым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са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аның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ІӨ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ғұрлым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alt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ады</a:t>
            </a:r>
            <a:endParaRPr lang="ru-RU" alt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CBE9FBE6-58FE-44EC-91C2-B22636ADAEBA}"/>
              </a:ext>
            </a:extLst>
          </p:cNvPr>
          <p:cNvSpPr/>
          <p:nvPr/>
        </p:nvSpPr>
        <p:spPr>
          <a:xfrm>
            <a:off x="1160553" y="4894332"/>
            <a:ext cx="11342174" cy="606320"/>
          </a:xfrm>
          <a:prstGeom prst="rect">
            <a:avLst/>
          </a:prstGeom>
          <a:solidFill>
            <a:schemeClr val="tx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10" algn="just" defTabSz="1014989" eaLnBrk="0" fontAlgn="base" hangingPunct="0">
              <a:spcBef>
                <a:spcPts val="882"/>
              </a:spcBef>
              <a:defRPr/>
            </a:pPr>
            <a:r>
              <a:rPr lang="kk-KZ" sz="1800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 қаржының ұзақ мерзімді тұрақтылығы туралы есеп</a:t>
            </a:r>
            <a:r>
              <a:rPr lang="kk-KZ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kk-KZ" sz="154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53 жылға дейінгі ұзақ мерзімді фискалдық саясат бағаланды</a:t>
            </a:r>
            <a:endParaRPr lang="ru-RU" sz="154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Google Shape;277;p4">
            <a:extLst>
              <a:ext uri="{FF2B5EF4-FFF2-40B4-BE49-F238E27FC236}">
                <a16:creationId xmlns:a16="http://schemas.microsoft.com/office/drawing/2014/main" id="{A4890DB9-70ED-4B69-81EE-791E043F083E}"/>
              </a:ext>
            </a:extLst>
          </p:cNvPr>
          <p:cNvGrpSpPr/>
          <p:nvPr/>
        </p:nvGrpSpPr>
        <p:grpSpPr>
          <a:xfrm>
            <a:off x="6734515" y="2443043"/>
            <a:ext cx="249837" cy="1074520"/>
            <a:chOff x="6801474" y="1968366"/>
            <a:chExt cx="245504" cy="802802"/>
          </a:xfrm>
        </p:grpSpPr>
        <p:sp>
          <p:nvSpPr>
            <p:cNvPr id="24" name="Google Shape;278;p4">
              <a:extLst>
                <a:ext uri="{FF2B5EF4-FFF2-40B4-BE49-F238E27FC236}">
                  <a16:creationId xmlns:a16="http://schemas.microsoft.com/office/drawing/2014/main" id="{D0A977B9-EBFD-4F08-8A01-5C911C9052FA}"/>
                </a:ext>
              </a:extLst>
            </p:cNvPr>
            <p:cNvSpPr/>
            <p:nvPr/>
          </p:nvSpPr>
          <p:spPr>
            <a:xfrm>
              <a:off x="6846057" y="1968366"/>
              <a:ext cx="156341" cy="8028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134372" tIns="67168" rIns="134372" bIns="67168" anchor="ctr" anchorCtr="0">
              <a:noAutofit/>
            </a:bodyPr>
            <a:lstStyle>
              <a:defPPr>
                <a:defRPr lang="ru-RU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343985" fontAlgn="base">
                <a:defRPr/>
              </a:pPr>
              <a:endParaRPr sz="1377" dirty="0">
                <a:solidFill>
                  <a:srgbClr val="000000"/>
                </a:solidFill>
                <a:latin typeface="Century Gothic" panose="020B0502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25" name="Google Shape;279;p4">
              <a:extLst>
                <a:ext uri="{FF2B5EF4-FFF2-40B4-BE49-F238E27FC236}">
                  <a16:creationId xmlns:a16="http://schemas.microsoft.com/office/drawing/2014/main" id="{69ABD94F-698C-496B-BEA3-6CF29ABA110F}"/>
                </a:ext>
              </a:extLst>
            </p:cNvPr>
            <p:cNvGrpSpPr/>
            <p:nvPr/>
          </p:nvGrpSpPr>
          <p:grpSpPr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26" name="Google Shape;280;p4">
                <a:extLst>
                  <a:ext uri="{FF2B5EF4-FFF2-40B4-BE49-F238E27FC236}">
                    <a16:creationId xmlns:a16="http://schemas.microsoft.com/office/drawing/2014/main" id="{B87C21BB-5EA8-46BD-A3B7-F2672733E347}"/>
                  </a:ext>
                </a:extLst>
              </p:cNvPr>
              <p:cNvSpPr/>
              <p:nvPr/>
            </p:nvSpPr>
            <p:spPr>
              <a:xfrm>
                <a:off x="6191200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FFFFFF">
                    <a:lumMod val="75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343985" fontAlgn="base">
                  <a:defRPr/>
                </a:pPr>
                <a:endParaRPr sz="1377" dirty="0">
                  <a:solidFill>
                    <a:srgbClr val="000000"/>
                  </a:solidFill>
                  <a:latin typeface="Century Gothic" panose="020B0502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27" name="Google Shape;281;p4">
                <a:extLst>
                  <a:ext uri="{FF2B5EF4-FFF2-40B4-BE49-F238E27FC236}">
                    <a16:creationId xmlns:a16="http://schemas.microsoft.com/office/drawing/2014/main" id="{D08734E6-AAD7-4DCF-95A6-27BFF74A6756}"/>
                  </a:ext>
                </a:extLst>
              </p:cNvPr>
              <p:cNvSpPr/>
              <p:nvPr/>
            </p:nvSpPr>
            <p:spPr>
              <a:xfrm>
                <a:off x="6434275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FFFFFF">
                    <a:lumMod val="50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1343985" fontAlgn="base">
                  <a:defRPr/>
                </a:pPr>
                <a:endParaRPr sz="1377" dirty="0">
                  <a:solidFill>
                    <a:srgbClr val="000000"/>
                  </a:solidFill>
                  <a:latin typeface="Century Gothic" panose="020B0502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</p:grpSp>
      </p:grpSp>
      <p:sp>
        <p:nvSpPr>
          <p:cNvPr id="28" name="Oval 185">
            <a:extLst>
              <a:ext uri="{FF2B5EF4-FFF2-40B4-BE49-F238E27FC236}">
                <a16:creationId xmlns:a16="http://schemas.microsoft.com/office/drawing/2014/main" id="{5174CDCD-761E-0A71-E0C4-78F043DAA25D}"/>
              </a:ext>
            </a:extLst>
          </p:cNvPr>
          <p:cNvSpPr/>
          <p:nvPr/>
        </p:nvSpPr>
        <p:spPr bwMode="gray">
          <a:xfrm>
            <a:off x="530672" y="1316080"/>
            <a:ext cx="591347" cy="5760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8784" tIns="49391" rIns="98784" bIns="493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pic>
        <p:nvPicPr>
          <p:cNvPr id="29" name="Picture 2" descr="Иконки верный. Скачать иконку верный. Страница 1">
            <a:extLst>
              <a:ext uri="{FF2B5EF4-FFF2-40B4-BE49-F238E27FC236}">
                <a16:creationId xmlns:a16="http://schemas.microsoft.com/office/drawing/2014/main" id="{734792CC-070D-C1E4-A114-5595F739C4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964" y="1288001"/>
            <a:ext cx="669689" cy="64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Oval 185">
            <a:extLst>
              <a:ext uri="{FF2B5EF4-FFF2-40B4-BE49-F238E27FC236}">
                <a16:creationId xmlns:a16="http://schemas.microsoft.com/office/drawing/2014/main" id="{5174CDCD-761E-0A71-E0C4-78F043DAA25D}"/>
              </a:ext>
            </a:extLst>
          </p:cNvPr>
          <p:cNvSpPr/>
          <p:nvPr/>
        </p:nvSpPr>
        <p:spPr bwMode="gray">
          <a:xfrm>
            <a:off x="530672" y="4905707"/>
            <a:ext cx="591347" cy="5760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8784" tIns="49391" rIns="98784" bIns="493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pic>
        <p:nvPicPr>
          <p:cNvPr id="31" name="Picture 2" descr="Иконки верный. Скачать иконку верный. Страница 1">
            <a:extLst>
              <a:ext uri="{FF2B5EF4-FFF2-40B4-BE49-F238E27FC236}">
                <a16:creationId xmlns:a16="http://schemas.microsoft.com/office/drawing/2014/main" id="{734792CC-070D-C1E4-A114-5595F739C4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366" y="4874127"/>
            <a:ext cx="669689" cy="64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16967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986F002-251E-4842-8EAB-C1387EFEFEA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746322" y="252000"/>
            <a:ext cx="11951123" cy="465139"/>
          </a:xfrm>
        </p:spPr>
        <p:txBody>
          <a:bodyPr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</a:rPr>
              <a:t>Мемлекеттік</a:t>
            </a:r>
            <a:r>
              <a:rPr kumimoji="0" lang="kk-KZ" sz="2800" b="1" i="0" u="none" strike="noStrike" kern="1200" cap="none" spc="0" normalizeH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</a:rPr>
              <a:t> қаржының нысаналы бағдарларының теңгерімділігін қалпына келтіру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6554270" y="1435846"/>
            <a:ext cx="0" cy="5616000"/>
          </a:xfrm>
          <a:prstGeom prst="line">
            <a:avLst/>
          </a:prstGeom>
          <a:ln w="9525">
            <a:solidFill>
              <a:schemeClr val="tx1">
                <a:lumMod val="50000"/>
              </a:schemeClr>
            </a:solidFill>
            <a:prstDash val="lg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2957BDE7-D458-B88B-A4BD-992F22A04770}"/>
              </a:ext>
            </a:extLst>
          </p:cNvPr>
          <p:cNvSpPr txBox="1"/>
          <p:nvPr/>
        </p:nvSpPr>
        <p:spPr>
          <a:xfrm>
            <a:off x="846313" y="1321944"/>
            <a:ext cx="5428030" cy="424732"/>
          </a:xfrm>
          <a:prstGeom prst="rect">
            <a:avLst/>
          </a:prstGeom>
          <a:solidFill>
            <a:schemeClr val="tx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690563" rtl="0" eaLnBrk="0" fontAlgn="base" latinLnBrk="0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1800" b="1" i="0" u="none" strike="noStrike" kern="1200" cap="none" spc="-1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Республикалық бюджет тапшылығы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60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ЖІӨ-</a:t>
            </a:r>
            <a:r>
              <a:rPr kumimoji="0" lang="ru-RU" sz="160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ге</a:t>
            </a:r>
            <a:r>
              <a:rPr kumimoji="0" lang="ru-RU" sz="160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633F20D-3D19-7E52-5EEE-2AF69BAF4106}"/>
              </a:ext>
            </a:extLst>
          </p:cNvPr>
          <p:cNvSpPr txBox="1"/>
          <p:nvPr/>
        </p:nvSpPr>
        <p:spPr>
          <a:xfrm>
            <a:off x="846313" y="4631103"/>
            <a:ext cx="5428029" cy="394210"/>
          </a:xfrm>
          <a:prstGeom prst="rect">
            <a:avLst/>
          </a:prstGeom>
          <a:solidFill>
            <a:schemeClr val="tx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 defTabSz="690563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kk-KZ" altLang="ru-RU" sz="1800" b="1" spc="-10" dirty="0">
                <a:solidFill>
                  <a:srgbClr val="00000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Үкіметтік</a:t>
            </a:r>
            <a:r>
              <a:rPr lang="ru-RU" sz="1800" b="1" spc="-10" dirty="0">
                <a:solidFill>
                  <a:srgbClr val="00000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800" b="1" spc="-10" dirty="0" err="1" smtClean="0">
                <a:solidFill>
                  <a:srgbClr val="00000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борыш</a:t>
            </a:r>
            <a:r>
              <a:rPr kumimoji="0" lang="ru-RU" sz="1600" b="0" i="0" u="none" strike="noStrike" kern="1200" cap="none" spc="-1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,</a:t>
            </a:r>
            <a:r>
              <a:rPr kumimoji="0" lang="ru-RU" sz="1600" b="1" i="0" u="none" strike="noStrike" kern="1200" cap="none" spc="-1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ІӨ-</a:t>
            </a:r>
            <a:r>
              <a:rPr lang="ru-RU" sz="1400" i="1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</a:t>
            </a:r>
            <a:r>
              <a:rPr lang="ru-RU" sz="1400" i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%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952E6811-A76E-D205-EE27-FF9C6BACAD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49414053"/>
              </p:ext>
            </p:extLst>
          </p:nvPr>
        </p:nvGraphicFramePr>
        <p:xfrm>
          <a:off x="846305" y="5174992"/>
          <a:ext cx="5428030" cy="20234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857C1E38-A4F9-16E8-4785-F4C4636AAF8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32340579"/>
              </p:ext>
            </p:extLst>
          </p:nvPr>
        </p:nvGraphicFramePr>
        <p:xfrm>
          <a:off x="846303" y="1872880"/>
          <a:ext cx="5428029" cy="17036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3" name="Google Shape;277;p4">
            <a:extLst>
              <a:ext uri="{FF2B5EF4-FFF2-40B4-BE49-F238E27FC236}">
                <a16:creationId xmlns:a16="http://schemas.microsoft.com/office/drawing/2014/main" id="{A7E6D05C-7A70-8B84-C419-621CA9584185}"/>
              </a:ext>
            </a:extLst>
          </p:cNvPr>
          <p:cNvGrpSpPr/>
          <p:nvPr/>
        </p:nvGrpSpPr>
        <p:grpSpPr>
          <a:xfrm rot="5400000">
            <a:off x="3440659" y="3332069"/>
            <a:ext cx="249837" cy="744972"/>
            <a:chOff x="6801474" y="1968366"/>
            <a:chExt cx="245504" cy="802802"/>
          </a:xfrm>
        </p:grpSpPr>
        <p:sp>
          <p:nvSpPr>
            <p:cNvPr id="14" name="Google Shape;278;p4">
              <a:extLst>
                <a:ext uri="{FF2B5EF4-FFF2-40B4-BE49-F238E27FC236}">
                  <a16:creationId xmlns:a16="http://schemas.microsoft.com/office/drawing/2014/main" id="{A6A51C30-7361-EB58-5366-142FBFBCF89F}"/>
                </a:ext>
              </a:extLst>
            </p:cNvPr>
            <p:cNvSpPr/>
            <p:nvPr/>
          </p:nvSpPr>
          <p:spPr>
            <a:xfrm>
              <a:off x="6846057" y="1968366"/>
              <a:ext cx="156341" cy="80280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134372" tIns="67168" rIns="134372" bIns="67168" anchor="ctr" anchorCtr="0">
              <a:noAutofit/>
            </a:bodyPr>
            <a:lstStyle>
              <a:defPPr>
                <a:defRPr lang="ru-RU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343985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7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15" name="Google Shape;279;p4">
              <a:extLst>
                <a:ext uri="{FF2B5EF4-FFF2-40B4-BE49-F238E27FC236}">
                  <a16:creationId xmlns:a16="http://schemas.microsoft.com/office/drawing/2014/main" id="{A3712D84-A372-D6E0-58C8-E3B9F3B08DD7}"/>
                </a:ext>
              </a:extLst>
            </p:cNvPr>
            <p:cNvGrpSpPr/>
            <p:nvPr/>
          </p:nvGrpSpPr>
          <p:grpSpPr>
            <a:xfrm>
              <a:off x="6801474" y="2095154"/>
              <a:ext cx="245504" cy="549228"/>
              <a:chOff x="6191200" y="3238500"/>
              <a:chExt cx="681225" cy="1524000"/>
            </a:xfrm>
          </p:grpSpPr>
          <p:sp>
            <p:nvSpPr>
              <p:cNvPr id="16" name="Google Shape;280;p4">
                <a:extLst>
                  <a:ext uri="{FF2B5EF4-FFF2-40B4-BE49-F238E27FC236}">
                    <a16:creationId xmlns:a16="http://schemas.microsoft.com/office/drawing/2014/main" id="{6CD123E3-F4C9-894F-BA1C-D7D43D103EC0}"/>
                  </a:ext>
                </a:extLst>
              </p:cNvPr>
              <p:cNvSpPr/>
              <p:nvPr/>
            </p:nvSpPr>
            <p:spPr>
              <a:xfrm>
                <a:off x="6191200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FFFFFF">
                    <a:lumMod val="75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34398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7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17" name="Google Shape;281;p4">
                <a:extLst>
                  <a:ext uri="{FF2B5EF4-FFF2-40B4-BE49-F238E27FC236}">
                    <a16:creationId xmlns:a16="http://schemas.microsoft.com/office/drawing/2014/main" id="{976478FC-F7BB-D29F-F3F1-126DAFF70B7E}"/>
                  </a:ext>
                </a:extLst>
              </p:cNvPr>
              <p:cNvSpPr/>
              <p:nvPr/>
            </p:nvSpPr>
            <p:spPr>
              <a:xfrm>
                <a:off x="6434275" y="3238500"/>
                <a:ext cx="438150" cy="1524000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FFFFFF">
                    <a:lumMod val="50000"/>
                  </a:srgbClr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34372" tIns="67168" rIns="134372" bIns="67168" anchor="ctr" anchorCtr="0">
                <a:noAutofit/>
              </a:bodyPr>
              <a:lstStyle>
                <a:defPPr>
                  <a:defRPr lang="ru-RU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1343985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37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anose="020B0604020202020204" pitchFamily="34" charset="0"/>
                  <a:sym typeface="Arial"/>
                </a:endParaRPr>
              </a:p>
            </p:txBody>
          </p:sp>
        </p:grp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6880F3FD-D03B-D016-E768-062A3BC535EF}"/>
              </a:ext>
            </a:extLst>
          </p:cNvPr>
          <p:cNvSpPr txBox="1"/>
          <p:nvPr/>
        </p:nvSpPr>
        <p:spPr>
          <a:xfrm>
            <a:off x="846313" y="3826047"/>
            <a:ext cx="542802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250825" algn="just" defTabSz="1348618">
              <a:spcBef>
                <a:spcPct val="0"/>
              </a:spcBef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defRPr/>
            </a:pPr>
            <a:r>
              <a:rPr lang="kk-KZ" alt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кіметтік борыш 2024 жылы ЖІӨ-ге 21,3</a:t>
            </a: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ru-RU" sz="14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ңгейінде</a:t>
            </a: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 2025-2026 </a:t>
            </a:r>
            <a:r>
              <a:rPr lang="ru-RU" sz="14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ры</a:t>
            </a: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ІӨ-</a:t>
            </a:r>
            <a:r>
              <a:rPr lang="ru-RU" sz="14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</a:t>
            </a: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1,2%  </a:t>
            </a:r>
            <a:r>
              <a:rPr lang="ru-RU" sz="14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1,1% </a:t>
            </a:r>
            <a:r>
              <a:rPr lang="ru-RU" sz="14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ңгейінде</a:t>
            </a: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спраланып</a:t>
            </a: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р</a:t>
            </a:r>
            <a:endParaRPr lang="ru-R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250825" algn="just" defTabSz="134861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44546A"/>
              </a:buClr>
              <a:buSzPts val="1100"/>
              <a:buFont typeface="Wingdings" panose="05000000000000000000" pitchFamily="2" charset="2"/>
              <a:buChar char="Ø"/>
              <a:tabLst/>
              <a:defRPr/>
            </a:pP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11CB541E-FA0E-6FDE-9F68-6190095D308D}"/>
              </a:ext>
            </a:extLst>
          </p:cNvPr>
          <p:cNvGrpSpPr/>
          <p:nvPr/>
        </p:nvGrpSpPr>
        <p:grpSpPr>
          <a:xfrm>
            <a:off x="7035597" y="1337960"/>
            <a:ext cx="5664809" cy="1238800"/>
            <a:chOff x="27660" y="515585"/>
            <a:chExt cx="6521231" cy="842864"/>
          </a:xfrm>
        </p:grpSpPr>
        <p:sp>
          <p:nvSpPr>
            <p:cNvPr id="20" name="Rectangle 35">
              <a:extLst>
                <a:ext uri="{FF2B5EF4-FFF2-40B4-BE49-F238E27FC236}">
                  <a16:creationId xmlns:a16="http://schemas.microsoft.com/office/drawing/2014/main" id="{D14E44C5-A2FF-E643-061F-96DB28D0EC57}"/>
                </a:ext>
              </a:extLst>
            </p:cNvPr>
            <p:cNvSpPr/>
            <p:nvPr/>
          </p:nvSpPr>
          <p:spPr>
            <a:xfrm>
              <a:off x="763124" y="515585"/>
              <a:ext cx="5785767" cy="842864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</p:spPr>
          <p:txBody>
            <a:bodyPr wrap="square">
              <a:spAutoFit/>
            </a:bodyPr>
            <a:lstStyle/>
            <a:p>
              <a:pPr marL="10" marR="0" lvl="0" indent="0" algn="ctr" defTabSz="1014989" rtl="0" eaLnBrk="0" fontAlgn="base" latinLnBrk="0" hangingPunct="0">
                <a:lnSpc>
                  <a:spcPct val="100000"/>
                </a:lnSpc>
                <a:spcBef>
                  <a:spcPts val="88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Бюджеттің</a:t>
              </a:r>
              <a:r>
                <a:rPr kumimoji="0" lang="ru-RU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ru-RU" sz="2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мұнайға</a:t>
              </a:r>
              <a:r>
                <a:rPr kumimoji="0" lang="ru-RU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ru-RU" sz="2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қатысты</a:t>
              </a:r>
              <a:r>
                <a:rPr kumimoji="0" lang="ru-RU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ru-RU" sz="2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емес</a:t>
              </a:r>
              <a:r>
                <a:rPr kumimoji="0" lang="ru-RU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ru-RU" sz="2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тапшылығының</a:t>
              </a:r>
              <a:r>
                <a:rPr kumimoji="0" lang="ru-RU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ru-RU" sz="2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нысаналы</a:t>
              </a:r>
              <a:r>
                <a:rPr kumimoji="0" lang="ru-RU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ru-RU" sz="2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бағдарларына</a:t>
              </a:r>
              <a:r>
                <a:rPr kumimoji="0" lang="ru-RU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ru-RU" sz="2000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біртіндеп</a:t>
              </a:r>
              <a:r>
                <a:rPr kumimoji="0" lang="ru-RU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оралу</a:t>
              </a:r>
              <a:endPara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0" marR="0" lvl="0" indent="0" algn="ctr" defTabSz="1014989" rtl="0" eaLnBrk="0" fontAlgn="base" latinLnBrk="0" hangingPunct="0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1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(МҚБТ</a:t>
              </a:r>
              <a:r>
                <a:rPr kumimoji="0" lang="ru-RU" sz="1200" b="0" i="1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2026 </a:t>
              </a:r>
              <a:r>
                <a:rPr kumimoji="0" lang="ru-RU" sz="1200" b="0" i="1" u="none" strike="noStrike" kern="0" cap="none" spc="0" normalizeH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жылы</a:t>
              </a:r>
              <a:r>
                <a:rPr kumimoji="0" lang="ru-RU" sz="1200" b="0" i="1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ЖІӨ-</a:t>
              </a:r>
              <a:r>
                <a:rPr kumimoji="0" lang="ru-RU" sz="1200" b="0" i="1" u="none" strike="noStrike" kern="0" cap="none" spc="0" normalizeH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ге</a:t>
              </a:r>
              <a:r>
                <a:rPr kumimoji="0" lang="ru-RU" sz="1200" b="0" i="1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ru-RU" sz="1200" b="0" i="1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5,9%-ан</a:t>
              </a:r>
              <a:r>
                <a:rPr kumimoji="0" lang="ru-RU" sz="1200" b="0" i="1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ru-RU" sz="1200" b="0" i="1" u="none" strike="noStrike" kern="0" cap="none" spc="0" normalizeH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жоғары</a:t>
              </a:r>
              <a:r>
                <a:rPr kumimoji="0" lang="ru-RU" sz="1200" b="0" i="1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kumimoji="0" lang="ru-RU" sz="1200" b="0" i="1" u="none" strike="noStrike" kern="0" cap="none" spc="0" normalizeH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емес</a:t>
              </a:r>
              <a:r>
                <a:rPr kumimoji="0" lang="ru-RU" sz="1200" b="0" i="1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endParaRPr kumimoji="0" lang="ru-RU" sz="1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Oval 185">
              <a:extLst>
                <a:ext uri="{FF2B5EF4-FFF2-40B4-BE49-F238E27FC236}">
                  <a16:creationId xmlns:a16="http://schemas.microsoft.com/office/drawing/2014/main" id="{5174CDCD-761E-0A71-E0C4-78F043DAA25D}"/>
                </a:ext>
              </a:extLst>
            </p:cNvPr>
            <p:cNvSpPr/>
            <p:nvPr/>
          </p:nvSpPr>
          <p:spPr bwMode="gray">
            <a:xfrm>
              <a:off x="27660" y="660414"/>
              <a:ext cx="680749" cy="391903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8784" tIns="49391" rIns="98784" bIns="493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3439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352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sp>
        <p:nvSpPr>
          <p:cNvPr id="24" name="Rectangle 35">
            <a:extLst>
              <a:ext uri="{FF2B5EF4-FFF2-40B4-BE49-F238E27FC236}">
                <a16:creationId xmlns:a16="http://schemas.microsoft.com/office/drawing/2014/main" id="{7E7562F4-C7BF-F5C6-BBF3-4E74BB45B458}"/>
              </a:ext>
            </a:extLst>
          </p:cNvPr>
          <p:cNvSpPr/>
          <p:nvPr/>
        </p:nvSpPr>
        <p:spPr>
          <a:xfrm>
            <a:off x="7671476" y="4451504"/>
            <a:ext cx="5008892" cy="900246"/>
          </a:xfrm>
          <a:prstGeom prst="rect">
            <a:avLst/>
          </a:prstGeom>
          <a:solidFill>
            <a:sysClr val="window" lastClr="FFFFFF">
              <a:lumMod val="95000"/>
            </a:sysClr>
          </a:solidFill>
        </p:spPr>
        <p:txBody>
          <a:bodyPr wrap="square">
            <a:spAutoFit/>
          </a:bodyPr>
          <a:lstStyle/>
          <a:p>
            <a:pPr marL="10" marR="0" lvl="0" indent="0" algn="ctr" defTabSz="1014989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Мемлекеттің</a:t>
            </a:r>
            <a:r>
              <a:rPr kumimoji="0" lang="ru-RU" sz="19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таза </a:t>
            </a:r>
            <a:r>
              <a:rPr kumimoji="0" lang="ru-RU" sz="1900" b="1" i="0" u="none" strike="noStrike" kern="0" cap="none" spc="0" normalizeH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ыртқы</a:t>
            </a:r>
            <a:r>
              <a:rPr kumimoji="0" lang="ru-RU" sz="19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900" b="1" i="0" u="none" strike="noStrike" kern="0" cap="none" spc="0" normalizeH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активтерінің</a:t>
            </a:r>
            <a:r>
              <a:rPr kumimoji="0" lang="ru-RU" sz="19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900" b="1" i="0" u="none" strike="noStrike" kern="0" cap="none" spc="0" normalizeH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көрсеткіштерін</a:t>
            </a:r>
            <a:r>
              <a:rPr kumimoji="0" lang="ru-RU" sz="19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900" b="1" i="0" u="none" strike="noStrike" kern="0" cap="none" spc="0" normalizeH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жақсарту</a:t>
            </a:r>
            <a:endParaRPr kumimoji="0" lang="ru-RU" sz="19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" marR="0" lvl="0" indent="0" algn="ctr" defTabSz="1014989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i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МҚБТ </a:t>
            </a:r>
            <a:r>
              <a:rPr lang="ru-RU" sz="1200" i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sz="1200" i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sz="1200" i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люталық</a:t>
            </a:r>
            <a:r>
              <a:rPr lang="ru-RU" sz="1200" i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інің</a:t>
            </a:r>
            <a:r>
              <a:rPr lang="ru-RU" sz="1200" i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5% </a:t>
            </a:r>
            <a:r>
              <a:rPr lang="ru-RU" sz="1200" i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пайды</a:t>
            </a:r>
            <a:r>
              <a:rPr lang="ru-RU" sz="1200" i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0" lang="ru-RU" sz="120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30E659AF-B041-1BB8-9E7A-861F1B418409}"/>
              </a:ext>
            </a:extLst>
          </p:cNvPr>
          <p:cNvGrpSpPr/>
          <p:nvPr/>
        </p:nvGrpSpPr>
        <p:grpSpPr>
          <a:xfrm>
            <a:off x="7398276" y="5460309"/>
            <a:ext cx="3405497" cy="1084792"/>
            <a:chOff x="248135" y="3329980"/>
            <a:chExt cx="2522655" cy="738077"/>
          </a:xfrm>
          <a:noFill/>
        </p:grpSpPr>
        <p:sp>
          <p:nvSpPr>
            <p:cNvPr id="27" name="object 6">
              <a:extLst>
                <a:ext uri="{FF2B5EF4-FFF2-40B4-BE49-F238E27FC236}">
                  <a16:creationId xmlns:a16="http://schemas.microsoft.com/office/drawing/2014/main" id="{86232767-CCEC-845E-3154-3173CA0868DD}"/>
                </a:ext>
              </a:extLst>
            </p:cNvPr>
            <p:cNvSpPr txBox="1"/>
            <p:nvPr/>
          </p:nvSpPr>
          <p:spPr>
            <a:xfrm>
              <a:off x="350179" y="3544532"/>
              <a:ext cx="961818" cy="523525"/>
            </a:xfrm>
            <a:prstGeom prst="rect">
              <a:avLst/>
            </a:prstGeom>
          </p:spPr>
          <p:txBody>
            <a:bodyPr vert="horz" wrap="square" lIns="0" tIns="45731" rIns="0" bIns="0" rtlCol="0">
              <a:spAutoFit/>
            </a:bodyPr>
            <a:lstStyle>
              <a:defPPr>
                <a:defRPr lang="en-US"/>
              </a:defPPr>
              <a:lvl1pPr marL="18666" defTabSz="1014989" eaLnBrk="0" fontAlgn="base" hangingPunct="0">
                <a:spcBef>
                  <a:spcPts val="566"/>
                </a:spcBef>
                <a:spcAft>
                  <a:spcPct val="0"/>
                </a:spcAft>
                <a:defRPr sz="4703" b="1" spc="-7">
                  <a:solidFill>
                    <a:srgbClr val="00B050"/>
                  </a:solidFill>
                  <a:latin typeface="Arial"/>
                  <a:cs typeface="Arial"/>
                </a:defRPr>
              </a:lvl1pPr>
            </a:lstStyle>
            <a:p>
              <a:pPr marL="18666" marR="0" lvl="0" indent="0" algn="l" defTabSz="1014989" rtl="0" eaLnBrk="0" fontAlgn="base" latinLnBrk="0" hangingPunct="0">
                <a:lnSpc>
                  <a:spcPct val="100000"/>
                </a:lnSpc>
                <a:spcBef>
                  <a:spcPts val="566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4700" b="1" i="0" u="none" strike="noStrike" kern="1200" cap="none" spc="-7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65</a:t>
              </a:r>
              <a:r>
                <a:rPr kumimoji="0" lang="kk-KZ" sz="3200" b="1" i="0" u="none" strike="noStrike" kern="1200" cap="none" spc="-7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B7ABC563-EAB6-A324-0D5B-B4FEBF74538B}"/>
                </a:ext>
              </a:extLst>
            </p:cNvPr>
            <p:cNvSpPr/>
            <p:nvPr/>
          </p:nvSpPr>
          <p:spPr>
            <a:xfrm>
              <a:off x="248135" y="3331825"/>
              <a:ext cx="974176" cy="247537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81198" lvl="0" indent="0" algn="ctr" defTabSz="1014989" rtl="0" eaLnBrk="0" fontAlgn="base" latinLnBrk="0" hangingPunct="0">
                <a:lnSpc>
                  <a:spcPct val="100000"/>
                </a:lnSpc>
                <a:spcBef>
                  <a:spcPts val="389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024 </a:t>
              </a:r>
              <a:r>
                <a:rPr kumimoji="0" lang="ru-RU" sz="1764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жыл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object 6">
              <a:extLst>
                <a:ext uri="{FF2B5EF4-FFF2-40B4-BE49-F238E27FC236}">
                  <a16:creationId xmlns:a16="http://schemas.microsoft.com/office/drawing/2014/main" id="{FD9DBDF8-07E4-CDE4-61B2-D45C5F312D52}"/>
                </a:ext>
              </a:extLst>
            </p:cNvPr>
            <p:cNvSpPr txBox="1"/>
            <p:nvPr/>
          </p:nvSpPr>
          <p:spPr>
            <a:xfrm>
              <a:off x="1886313" y="3543335"/>
              <a:ext cx="814197" cy="523525"/>
            </a:xfrm>
            <a:prstGeom prst="rect">
              <a:avLst/>
            </a:prstGeom>
            <a:grpFill/>
          </p:spPr>
          <p:txBody>
            <a:bodyPr vert="horz" wrap="square" lIns="0" tIns="45731" rIns="0" bIns="0" rtlCol="0">
              <a:spAutoFit/>
            </a:bodyPr>
            <a:lstStyle/>
            <a:p>
              <a:pPr marL="18666" marR="0" lvl="0" indent="0" algn="l" defTabSz="1014989" rtl="0" eaLnBrk="0" fontAlgn="base" latinLnBrk="0" hangingPunct="0">
                <a:lnSpc>
                  <a:spcPct val="100000"/>
                </a:lnSpc>
                <a:spcBef>
                  <a:spcPts val="566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700" b="1" i="0" u="none" strike="noStrike" kern="1200" cap="none" spc="-7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54</a:t>
              </a:r>
              <a:r>
                <a:rPr kumimoji="0" lang="ru-RU" sz="3200" b="1" i="0" u="none" strike="noStrike" kern="1200" cap="none" spc="-7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%</a:t>
              </a:r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id="{CBD3FCC9-DFBC-4D6B-9591-768970D92185}"/>
                </a:ext>
              </a:extLst>
            </p:cNvPr>
            <p:cNvSpPr/>
            <p:nvPr/>
          </p:nvSpPr>
          <p:spPr>
            <a:xfrm>
              <a:off x="1796613" y="3329980"/>
              <a:ext cx="974177" cy="247537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81198" lvl="0" indent="0" algn="ctr" defTabSz="1014989" rtl="0" eaLnBrk="0" fontAlgn="base" latinLnBrk="0" hangingPunct="0">
                <a:lnSpc>
                  <a:spcPct val="100000"/>
                </a:lnSpc>
                <a:spcBef>
                  <a:spcPts val="389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025 </a:t>
              </a:r>
              <a:r>
                <a:rPr kumimoji="0" lang="ru-RU" sz="1764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жыл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D4185CE-2299-C253-6882-4041DF8D4203}"/>
              </a:ext>
            </a:extLst>
          </p:cNvPr>
          <p:cNvSpPr/>
          <p:nvPr/>
        </p:nvSpPr>
        <p:spPr>
          <a:xfrm>
            <a:off x="11373883" y="5450031"/>
            <a:ext cx="131510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81198" lvl="0" indent="0" algn="ctr" defTabSz="1014989" rtl="0" eaLnBrk="0" fontAlgn="base" latinLnBrk="0" hangingPunct="0">
              <a:lnSpc>
                <a:spcPct val="100000"/>
              </a:lnSpc>
              <a:spcBef>
                <a:spcPts val="389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64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6 </a:t>
            </a:r>
            <a:r>
              <a:rPr kumimoji="0" lang="ru-RU" sz="1764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kumimoji="0" lang="ru-RU" sz="1764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object 6">
            <a:extLst>
              <a:ext uri="{FF2B5EF4-FFF2-40B4-BE49-F238E27FC236}">
                <a16:creationId xmlns:a16="http://schemas.microsoft.com/office/drawing/2014/main" id="{ECC35BF8-62BE-29B1-403A-54F1548BA2D8}"/>
              </a:ext>
            </a:extLst>
          </p:cNvPr>
          <p:cNvSpPr txBox="1"/>
          <p:nvPr/>
        </p:nvSpPr>
        <p:spPr>
          <a:xfrm>
            <a:off x="11540325" y="5763853"/>
            <a:ext cx="1299888" cy="769453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marR="0" lvl="0" indent="0" algn="l" defTabSz="1014989" rtl="0" eaLnBrk="0" fontAlgn="base" latinLnBrk="0" hangingPunct="0">
              <a:lnSpc>
                <a:spcPct val="100000"/>
              </a:lnSpc>
              <a:spcBef>
                <a:spcPts val="566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4700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6</a:t>
            </a:r>
            <a:r>
              <a:rPr kumimoji="0" lang="kk-KZ" sz="3200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34" name="Chevron2">
            <a:extLst>
              <a:ext uri="{FF2B5EF4-FFF2-40B4-BE49-F238E27FC236}">
                <a16:creationId xmlns:a16="http://schemas.microsoft.com/office/drawing/2014/main" id="{C5C4E7F7-2067-4F10-91BF-B1E9BECFBA37}"/>
              </a:ext>
            </a:extLst>
          </p:cNvPr>
          <p:cNvSpPr>
            <a:spLocks noChangeAspect="1"/>
          </p:cNvSpPr>
          <p:nvPr/>
        </p:nvSpPr>
        <p:spPr>
          <a:xfrm flipV="1">
            <a:off x="9075624" y="5937745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5" name="Chevron1">
            <a:extLst>
              <a:ext uri="{FF2B5EF4-FFF2-40B4-BE49-F238E27FC236}">
                <a16:creationId xmlns:a16="http://schemas.microsoft.com/office/drawing/2014/main" id="{6C5A833C-3671-D948-8F14-FB60F33408F0}"/>
              </a:ext>
            </a:extLst>
          </p:cNvPr>
          <p:cNvSpPr>
            <a:spLocks noChangeAspect="1"/>
          </p:cNvSpPr>
          <p:nvPr/>
        </p:nvSpPr>
        <p:spPr>
          <a:xfrm flipV="1">
            <a:off x="8934003" y="5986908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6" name="Chevron2">
            <a:extLst>
              <a:ext uri="{FF2B5EF4-FFF2-40B4-BE49-F238E27FC236}">
                <a16:creationId xmlns:a16="http://schemas.microsoft.com/office/drawing/2014/main" id="{B5C9230D-4740-25DF-0C8F-AAA853939A2C}"/>
              </a:ext>
            </a:extLst>
          </p:cNvPr>
          <p:cNvSpPr>
            <a:spLocks noChangeAspect="1"/>
          </p:cNvSpPr>
          <p:nvPr/>
        </p:nvSpPr>
        <p:spPr>
          <a:xfrm flipV="1">
            <a:off x="11071442" y="5916309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40" name="Chevron1">
            <a:extLst>
              <a:ext uri="{FF2B5EF4-FFF2-40B4-BE49-F238E27FC236}">
                <a16:creationId xmlns:a16="http://schemas.microsoft.com/office/drawing/2014/main" id="{DB606CE0-01AF-8441-9436-83854737BD1E}"/>
              </a:ext>
            </a:extLst>
          </p:cNvPr>
          <p:cNvSpPr>
            <a:spLocks noChangeAspect="1"/>
          </p:cNvSpPr>
          <p:nvPr/>
        </p:nvSpPr>
        <p:spPr>
          <a:xfrm flipV="1">
            <a:off x="10929821" y="5965472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pic>
        <p:nvPicPr>
          <p:cNvPr id="55" name="Picture 2" descr="Иконки верный. Скачать иконку верный. Страница 1">
            <a:extLst>
              <a:ext uri="{FF2B5EF4-FFF2-40B4-BE49-F238E27FC236}">
                <a16:creationId xmlns:a16="http://schemas.microsoft.com/office/drawing/2014/main" id="{734792CC-070D-C1E4-A114-5595F739C4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8082" y="1513081"/>
            <a:ext cx="669689" cy="64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1" name="Группа 60">
            <a:extLst>
              <a:ext uri="{FF2B5EF4-FFF2-40B4-BE49-F238E27FC236}">
                <a16:creationId xmlns:a16="http://schemas.microsoft.com/office/drawing/2014/main" id="{C45CD88C-9E81-4C5D-3543-562C145F91E7}"/>
              </a:ext>
            </a:extLst>
          </p:cNvPr>
          <p:cNvGrpSpPr/>
          <p:nvPr/>
        </p:nvGrpSpPr>
        <p:grpSpPr>
          <a:xfrm>
            <a:off x="8497503" y="2656004"/>
            <a:ext cx="2958019" cy="997002"/>
            <a:chOff x="1062400" y="3325206"/>
            <a:chExt cx="2191185" cy="678345"/>
          </a:xfrm>
          <a:noFill/>
        </p:grpSpPr>
        <p:sp>
          <p:nvSpPr>
            <p:cNvPr id="62" name="object 6">
              <a:extLst>
                <a:ext uri="{FF2B5EF4-FFF2-40B4-BE49-F238E27FC236}">
                  <a16:creationId xmlns:a16="http://schemas.microsoft.com/office/drawing/2014/main" id="{AEE2741A-677A-1AC5-EA9F-BD20AC610DCC}"/>
                </a:ext>
              </a:extLst>
            </p:cNvPr>
            <p:cNvSpPr txBox="1"/>
            <p:nvPr/>
          </p:nvSpPr>
          <p:spPr>
            <a:xfrm>
              <a:off x="1229297" y="3511438"/>
              <a:ext cx="655128" cy="492113"/>
            </a:xfrm>
            <a:prstGeom prst="rect">
              <a:avLst/>
            </a:prstGeom>
          </p:spPr>
          <p:txBody>
            <a:bodyPr vert="horz" wrap="square" lIns="0" tIns="45731" rIns="0" bIns="0" rtlCol="0">
              <a:spAutoFit/>
            </a:bodyPr>
            <a:lstStyle>
              <a:defPPr>
                <a:defRPr lang="en-US"/>
              </a:defPPr>
              <a:lvl1pPr marL="18666" defTabSz="1014989" eaLnBrk="0" fontAlgn="base" hangingPunct="0">
                <a:spcBef>
                  <a:spcPts val="566"/>
                </a:spcBef>
                <a:spcAft>
                  <a:spcPct val="0"/>
                </a:spcAft>
                <a:defRPr sz="4703" b="1" spc="-7">
                  <a:solidFill>
                    <a:srgbClr val="00B050"/>
                  </a:solidFill>
                  <a:latin typeface="Arial"/>
                  <a:cs typeface="Arial"/>
                </a:defRPr>
              </a:lvl1pPr>
            </a:lstStyle>
            <a:p>
              <a:pPr marL="18666" marR="0" lvl="0" indent="0" algn="l" defTabSz="1014989" rtl="0" eaLnBrk="0" fontAlgn="base" latinLnBrk="0" hangingPunct="0">
                <a:lnSpc>
                  <a:spcPct val="100000"/>
                </a:lnSpc>
                <a:spcBef>
                  <a:spcPts val="566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4400" b="1" i="0" u="none" strike="noStrike" kern="1200" cap="none" spc="-7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6,5</a:t>
              </a:r>
              <a:endParaRPr kumimoji="0" lang="kk-KZ" sz="2800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Прямоугольник 62">
              <a:extLst>
                <a:ext uri="{FF2B5EF4-FFF2-40B4-BE49-F238E27FC236}">
                  <a16:creationId xmlns:a16="http://schemas.microsoft.com/office/drawing/2014/main" id="{57C24F6A-EB11-64B8-FDE5-8F630993A4FA}"/>
                </a:ext>
              </a:extLst>
            </p:cNvPr>
            <p:cNvSpPr/>
            <p:nvPr/>
          </p:nvSpPr>
          <p:spPr>
            <a:xfrm>
              <a:off x="1062400" y="3325206"/>
              <a:ext cx="974179" cy="247536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81198" lvl="0" indent="0" algn="ctr" defTabSz="1014989" rtl="0" eaLnBrk="0" fontAlgn="base" latinLnBrk="0" hangingPunct="0">
                <a:lnSpc>
                  <a:spcPct val="100000"/>
                </a:lnSpc>
                <a:spcBef>
                  <a:spcPts val="389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024 </a:t>
              </a:r>
              <a:r>
                <a:rPr kumimoji="0" lang="ru-RU" sz="1764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жыл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object 6">
              <a:extLst>
                <a:ext uri="{FF2B5EF4-FFF2-40B4-BE49-F238E27FC236}">
                  <a16:creationId xmlns:a16="http://schemas.microsoft.com/office/drawing/2014/main" id="{884F7A91-B659-A7DE-06B8-C73F8D695A82}"/>
                </a:ext>
              </a:extLst>
            </p:cNvPr>
            <p:cNvSpPr txBox="1"/>
            <p:nvPr/>
          </p:nvSpPr>
          <p:spPr>
            <a:xfrm>
              <a:off x="2599697" y="3503622"/>
              <a:ext cx="379763" cy="492113"/>
            </a:xfrm>
            <a:prstGeom prst="rect">
              <a:avLst/>
            </a:prstGeom>
            <a:grpFill/>
          </p:spPr>
          <p:txBody>
            <a:bodyPr vert="horz" wrap="square" lIns="0" tIns="45731" rIns="0" bIns="0" rtlCol="0">
              <a:spAutoFit/>
            </a:bodyPr>
            <a:lstStyle/>
            <a:p>
              <a:pPr marL="18666" marR="0" lvl="0" indent="0" algn="l" defTabSz="1014989" rtl="0" eaLnBrk="0" fontAlgn="base" latinLnBrk="0" hangingPunct="0">
                <a:lnSpc>
                  <a:spcPct val="100000"/>
                </a:lnSpc>
                <a:spcBef>
                  <a:spcPts val="566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400" b="1" i="0" u="none" strike="noStrike" kern="1200" cap="none" spc="-7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kumimoji="0" lang="ru-RU" sz="2800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Прямоугольник 64">
              <a:extLst>
                <a:ext uri="{FF2B5EF4-FFF2-40B4-BE49-F238E27FC236}">
                  <a16:creationId xmlns:a16="http://schemas.microsoft.com/office/drawing/2014/main" id="{D18D8D69-BF6C-F6D0-281B-3F1C3C124AD6}"/>
                </a:ext>
              </a:extLst>
            </p:cNvPr>
            <p:cNvSpPr/>
            <p:nvPr/>
          </p:nvSpPr>
          <p:spPr>
            <a:xfrm>
              <a:off x="2279407" y="3329980"/>
              <a:ext cx="974178" cy="247536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81198" lvl="0" indent="0" algn="ctr" defTabSz="1014989" rtl="0" eaLnBrk="0" fontAlgn="base" latinLnBrk="0" hangingPunct="0">
                <a:lnSpc>
                  <a:spcPct val="100000"/>
                </a:lnSpc>
                <a:spcBef>
                  <a:spcPts val="389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025 </a:t>
              </a:r>
              <a:r>
                <a:rPr kumimoji="0" lang="ru-RU" sz="1764" b="1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2E2E38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жыл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05E261CE-8475-E42F-F83C-D090907A08D5}"/>
              </a:ext>
            </a:extLst>
          </p:cNvPr>
          <p:cNvSpPr/>
          <p:nvPr/>
        </p:nvSpPr>
        <p:spPr>
          <a:xfrm>
            <a:off x="11704625" y="2662465"/>
            <a:ext cx="131510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81198" lvl="0" indent="0" algn="ctr" defTabSz="1014989" rtl="0" eaLnBrk="0" fontAlgn="base" latinLnBrk="0" hangingPunct="0">
              <a:lnSpc>
                <a:spcPct val="100000"/>
              </a:lnSpc>
              <a:spcBef>
                <a:spcPts val="389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64" b="1" i="0" u="none" strike="noStrike" kern="120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6 </a:t>
            </a:r>
            <a:r>
              <a:rPr kumimoji="0" lang="ru-RU" sz="1764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kumimoji="0" lang="ru-RU" sz="1764" b="1" i="0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object 6">
            <a:extLst>
              <a:ext uri="{FF2B5EF4-FFF2-40B4-BE49-F238E27FC236}">
                <a16:creationId xmlns:a16="http://schemas.microsoft.com/office/drawing/2014/main" id="{1446D148-F35D-1606-E399-63BB2475E9E9}"/>
              </a:ext>
            </a:extLst>
          </p:cNvPr>
          <p:cNvSpPr txBox="1"/>
          <p:nvPr/>
        </p:nvSpPr>
        <p:spPr>
          <a:xfrm>
            <a:off x="11909978" y="2908191"/>
            <a:ext cx="875018" cy="723286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marR="0" lvl="0" indent="0" algn="l" defTabSz="1014989" rtl="0" eaLnBrk="0" fontAlgn="base" latinLnBrk="0" hangingPunct="0">
              <a:lnSpc>
                <a:spcPct val="100000"/>
              </a:lnSpc>
              <a:spcBef>
                <a:spcPts val="566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4400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,6</a:t>
            </a:r>
            <a:endParaRPr kumimoji="0" lang="kk-KZ" sz="2800" b="1" i="0" u="none" strike="noStrike" kern="1200" cap="none" spc="-7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Chevron2">
            <a:extLst>
              <a:ext uri="{FF2B5EF4-FFF2-40B4-BE49-F238E27FC236}">
                <a16:creationId xmlns:a16="http://schemas.microsoft.com/office/drawing/2014/main" id="{26BE3893-35FA-79BA-A088-2072B7720698}"/>
              </a:ext>
            </a:extLst>
          </p:cNvPr>
          <p:cNvSpPr>
            <a:spLocks noChangeAspect="1"/>
          </p:cNvSpPr>
          <p:nvPr/>
        </p:nvSpPr>
        <p:spPr>
          <a:xfrm flipV="1">
            <a:off x="9931663" y="3023715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69" name="Chevron1">
            <a:extLst>
              <a:ext uri="{FF2B5EF4-FFF2-40B4-BE49-F238E27FC236}">
                <a16:creationId xmlns:a16="http://schemas.microsoft.com/office/drawing/2014/main" id="{9D0A32AD-879A-7BC6-CE65-B60323A94B16}"/>
              </a:ext>
            </a:extLst>
          </p:cNvPr>
          <p:cNvSpPr>
            <a:spLocks noChangeAspect="1"/>
          </p:cNvSpPr>
          <p:nvPr/>
        </p:nvSpPr>
        <p:spPr>
          <a:xfrm flipV="1">
            <a:off x="9790042" y="3072878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87" name="Chevron2">
            <a:extLst>
              <a:ext uri="{FF2B5EF4-FFF2-40B4-BE49-F238E27FC236}">
                <a16:creationId xmlns:a16="http://schemas.microsoft.com/office/drawing/2014/main" id="{75F52FDD-52AD-E8E9-3E15-9FB98B94CA2C}"/>
              </a:ext>
            </a:extLst>
          </p:cNvPr>
          <p:cNvSpPr>
            <a:spLocks noChangeAspect="1"/>
          </p:cNvSpPr>
          <p:nvPr/>
        </p:nvSpPr>
        <p:spPr>
          <a:xfrm flipV="1">
            <a:off x="11470282" y="3021738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88" name="Chevron1">
            <a:extLst>
              <a:ext uri="{FF2B5EF4-FFF2-40B4-BE49-F238E27FC236}">
                <a16:creationId xmlns:a16="http://schemas.microsoft.com/office/drawing/2014/main" id="{999CF11B-EF78-33FC-26BA-92C267FE9C52}"/>
              </a:ext>
            </a:extLst>
          </p:cNvPr>
          <p:cNvSpPr>
            <a:spLocks noChangeAspect="1"/>
          </p:cNvSpPr>
          <p:nvPr/>
        </p:nvSpPr>
        <p:spPr>
          <a:xfrm flipV="1">
            <a:off x="11328661" y="3070901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FE29E3CC-28E6-67AB-B372-44554198354E}"/>
              </a:ext>
            </a:extLst>
          </p:cNvPr>
          <p:cNvSpPr/>
          <p:nvPr/>
        </p:nvSpPr>
        <p:spPr>
          <a:xfrm>
            <a:off x="6886501" y="2650754"/>
            <a:ext cx="1315105" cy="36381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81198" lvl="0" indent="0" algn="ctr" defTabSz="1014989" rtl="0" eaLnBrk="0" fontAlgn="base" latinLnBrk="0" hangingPunct="0">
              <a:lnSpc>
                <a:spcPct val="100000"/>
              </a:lnSpc>
              <a:spcBef>
                <a:spcPts val="389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kumimoji="0" lang="ru-RU" sz="1764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kumimoji="0" lang="ru-RU" sz="1764" b="1" i="0" u="none" strike="noStrike" kern="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Chevron2">
            <a:extLst>
              <a:ext uri="{FF2B5EF4-FFF2-40B4-BE49-F238E27FC236}">
                <a16:creationId xmlns:a16="http://schemas.microsoft.com/office/drawing/2014/main" id="{9737BF6B-9B72-57B5-CD8B-EEE1B610D06B}"/>
              </a:ext>
            </a:extLst>
          </p:cNvPr>
          <p:cNvSpPr>
            <a:spLocks noChangeAspect="1"/>
          </p:cNvSpPr>
          <p:nvPr/>
        </p:nvSpPr>
        <p:spPr>
          <a:xfrm flipV="1">
            <a:off x="8255642" y="3023417"/>
            <a:ext cx="264556" cy="574039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4472C4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91" name="Chevron1">
            <a:extLst>
              <a:ext uri="{FF2B5EF4-FFF2-40B4-BE49-F238E27FC236}">
                <a16:creationId xmlns:a16="http://schemas.microsoft.com/office/drawing/2014/main" id="{DDF8EF4A-88C5-2A9F-F6FE-313D164B185D}"/>
              </a:ext>
            </a:extLst>
          </p:cNvPr>
          <p:cNvSpPr>
            <a:spLocks noChangeAspect="1"/>
          </p:cNvSpPr>
          <p:nvPr/>
        </p:nvSpPr>
        <p:spPr>
          <a:xfrm flipV="1">
            <a:off x="8114021" y="3072580"/>
            <a:ext cx="221933" cy="48155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F9C61B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92" name="object 6">
            <a:extLst>
              <a:ext uri="{FF2B5EF4-FFF2-40B4-BE49-F238E27FC236}">
                <a16:creationId xmlns:a16="http://schemas.microsoft.com/office/drawing/2014/main" id="{F1FCFDF5-AF3A-D29B-2386-28A1DC804BFD}"/>
              </a:ext>
            </a:extLst>
          </p:cNvPr>
          <p:cNvSpPr txBox="1"/>
          <p:nvPr/>
        </p:nvSpPr>
        <p:spPr>
          <a:xfrm>
            <a:off x="7104843" y="2938768"/>
            <a:ext cx="845975" cy="723286"/>
          </a:xfrm>
          <a:prstGeom prst="rect">
            <a:avLst/>
          </a:prstGeom>
        </p:spPr>
        <p:txBody>
          <a:bodyPr vert="horz" wrap="square" lIns="0" tIns="45731" rIns="0" bIns="0" rtlCol="0">
            <a:spAutoFit/>
          </a:bodyPr>
          <a:lstStyle/>
          <a:p>
            <a:pPr marL="18666" marR="0" lvl="0" indent="0" algn="l" defTabSz="1014989" rtl="0" eaLnBrk="0" fontAlgn="base" latinLnBrk="0" hangingPunct="0">
              <a:lnSpc>
                <a:spcPct val="100000"/>
              </a:lnSpc>
              <a:spcBef>
                <a:spcPts val="566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4400" b="1" i="0" u="none" strike="noStrike" kern="1200" cap="none" spc="-7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,4</a:t>
            </a:r>
            <a:endParaRPr kumimoji="0" lang="kk-KZ" sz="2800" b="1" i="0" u="none" strike="noStrike" kern="1200" cap="none" spc="-7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id="{55CB0163-AB93-67B6-77BC-B4A061C37144}"/>
              </a:ext>
            </a:extLst>
          </p:cNvPr>
          <p:cNvSpPr/>
          <p:nvPr/>
        </p:nvSpPr>
        <p:spPr>
          <a:xfrm>
            <a:off x="6997585" y="3615790"/>
            <a:ext cx="127387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01498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64" b="1" i="1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ЖІӨ-</a:t>
            </a:r>
            <a:r>
              <a:rPr kumimoji="0" lang="ru-RU" sz="1764" b="1" i="1" u="none" strike="noStrike" kern="1200" cap="none" spc="0" normalizeH="0" baseline="0" noProof="0" dirty="0" err="1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ге</a:t>
            </a:r>
            <a:r>
              <a:rPr kumimoji="0" lang="ru-RU" sz="1764" b="1" i="1" u="none" strike="noStrike" kern="1200" cap="none" spc="0" normalizeH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764" b="1" i="1" u="none" strike="noStrike" kern="1200" cap="none" spc="0" normalizeH="0" baseline="0" noProof="0" dirty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endParaRPr kumimoji="0" lang="ru-RU" sz="1764" b="1" i="1" u="none" strike="noStrike" kern="1200" cap="none" spc="0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9F5B7DD3-57EE-D7B0-2AD6-B4531513C58A}"/>
              </a:ext>
            </a:extLst>
          </p:cNvPr>
          <p:cNvSpPr/>
          <p:nvPr/>
        </p:nvSpPr>
        <p:spPr>
          <a:xfrm>
            <a:off x="8619964" y="3592012"/>
            <a:ext cx="127387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101498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764" b="1" i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ІӨ-</a:t>
            </a:r>
            <a:r>
              <a:rPr lang="ru-RU" sz="1764" b="1" i="1" dirty="0" err="1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</a:t>
            </a:r>
            <a:r>
              <a:rPr lang="ru-RU" sz="1764" b="1" i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% </a:t>
            </a:r>
          </a:p>
        </p:txBody>
      </p:sp>
      <p:sp>
        <p:nvSpPr>
          <p:cNvPr id="95" name="Прямоугольник 94">
            <a:extLst>
              <a:ext uri="{FF2B5EF4-FFF2-40B4-BE49-F238E27FC236}">
                <a16:creationId xmlns:a16="http://schemas.microsoft.com/office/drawing/2014/main" id="{DF387B74-0A03-0F2A-736B-E3FE0039B3CB}"/>
              </a:ext>
            </a:extLst>
          </p:cNvPr>
          <p:cNvSpPr/>
          <p:nvPr/>
        </p:nvSpPr>
        <p:spPr>
          <a:xfrm>
            <a:off x="10264159" y="3594082"/>
            <a:ext cx="127387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101498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764" b="1" i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ІӨ-</a:t>
            </a:r>
            <a:r>
              <a:rPr lang="ru-RU" sz="1764" b="1" i="1" dirty="0" err="1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</a:t>
            </a:r>
            <a:r>
              <a:rPr lang="ru-RU" sz="1764" b="1" i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% </a:t>
            </a: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8DCF264B-9AF6-33B7-B1A5-22A952EE2F50}"/>
              </a:ext>
            </a:extLst>
          </p:cNvPr>
          <p:cNvSpPr/>
          <p:nvPr/>
        </p:nvSpPr>
        <p:spPr>
          <a:xfrm>
            <a:off x="11817343" y="3590837"/>
            <a:ext cx="127387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101498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764" b="1" i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ІӨ-</a:t>
            </a:r>
            <a:r>
              <a:rPr lang="ru-RU" sz="1764" b="1" i="1" dirty="0" err="1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</a:t>
            </a:r>
            <a:r>
              <a:rPr lang="ru-RU" sz="1764" b="1" i="1" dirty="0">
                <a:solidFill>
                  <a:srgbClr val="2E2E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% </a:t>
            </a:r>
          </a:p>
        </p:txBody>
      </p:sp>
      <p:sp>
        <p:nvSpPr>
          <p:cNvPr id="52" name="Oval 185">
            <a:extLst>
              <a:ext uri="{FF2B5EF4-FFF2-40B4-BE49-F238E27FC236}">
                <a16:creationId xmlns:a16="http://schemas.microsoft.com/office/drawing/2014/main" id="{5174CDCD-761E-0A71-E0C4-78F043DAA25D}"/>
              </a:ext>
            </a:extLst>
          </p:cNvPr>
          <p:cNvSpPr/>
          <p:nvPr/>
        </p:nvSpPr>
        <p:spPr bwMode="gray">
          <a:xfrm>
            <a:off x="7035597" y="4584296"/>
            <a:ext cx="591347" cy="576000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FFC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8784" tIns="49391" rIns="98784" bIns="493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3439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35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pic>
        <p:nvPicPr>
          <p:cNvPr id="53" name="Picture 2" descr="Иконки верный. Скачать иконку верный. Страница 1">
            <a:extLst>
              <a:ext uri="{FF2B5EF4-FFF2-40B4-BE49-F238E27FC236}">
                <a16:creationId xmlns:a16="http://schemas.microsoft.com/office/drawing/2014/main" id="{734792CC-070D-C1E4-A114-5595F739C4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8082" y="4545056"/>
            <a:ext cx="669689" cy="647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96515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45351B98-3D6D-052D-1970-F9701FD18D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15591" y="3407835"/>
            <a:ext cx="10079567" cy="1825171"/>
          </a:xfrm>
        </p:spPr>
        <p:txBody>
          <a:bodyPr/>
          <a:lstStyle/>
          <a:p>
            <a:pPr defTabSz="1343891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defRPr/>
            </a:pPr>
            <a:r>
              <a:rPr lang="kk-KZ" sz="4115" b="1" kern="0" dirty="0" smtClean="0">
                <a:solidFill>
                  <a:srgbClr val="194B75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азар аударғандарыңыз үшін рақмет!</a:t>
            </a:r>
            <a:endParaRPr lang="ru-RU" sz="4115" b="1" kern="0" dirty="0">
              <a:solidFill>
                <a:srgbClr val="194B75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573077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heme/theme1.xml><?xml version="1.0" encoding="utf-8"?>
<a:theme xmlns:a="http://schemas.openxmlformats.org/drawingml/2006/main" name="EY style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 style" id="{2659B55F-CA74-4D1E-A080-5D6F47BA4FEB}" vid="{A1E16387-ABEF-4564-8BC8-E22617A7C556}"/>
    </a:ext>
  </a:extLst>
</a:theme>
</file>

<file path=ppt/theme/theme2.xml><?xml version="1.0" encoding="utf-8"?>
<a:theme xmlns:a="http://schemas.openxmlformats.org/drawingml/2006/main" name="1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2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6318</TotalTime>
  <Words>998</Words>
  <Application>Microsoft Office PowerPoint</Application>
  <PresentationFormat>Произвольный</PresentationFormat>
  <Paragraphs>338</Paragraphs>
  <Slides>9</Slides>
  <Notes>3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4</vt:i4>
      </vt:variant>
      <vt:variant>
        <vt:lpstr>Заголовки слайдов</vt:lpstr>
      </vt:variant>
      <vt:variant>
        <vt:i4>9</vt:i4>
      </vt:variant>
    </vt:vector>
  </HeadingPairs>
  <TitlesOfParts>
    <vt:vector size="22" baseType="lpstr">
      <vt:lpstr>ＭＳ Ｐゴシック</vt:lpstr>
      <vt:lpstr>Arial</vt:lpstr>
      <vt:lpstr>Arial Narrow</vt:lpstr>
      <vt:lpstr>Calibri</vt:lpstr>
      <vt:lpstr>Calibri Light</vt:lpstr>
      <vt:lpstr>Century Gothic</vt:lpstr>
      <vt:lpstr>Tahoma</vt:lpstr>
      <vt:lpstr>Times New Roman</vt:lpstr>
      <vt:lpstr>Wingdings</vt:lpstr>
      <vt:lpstr>EY style</vt:lpstr>
      <vt:lpstr>1_2. Дополнительные</vt:lpstr>
      <vt:lpstr>12_2. Дополнительные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nur Abulgazin</dc:creator>
  <cp:lastModifiedBy>Аида Тегисбаева</cp:lastModifiedBy>
  <cp:revision>513</cp:revision>
  <cp:lastPrinted>2023-09-08T09:42:03Z</cp:lastPrinted>
  <dcterms:created xsi:type="dcterms:W3CDTF">2022-04-03T09:31:24Z</dcterms:created>
  <dcterms:modified xsi:type="dcterms:W3CDTF">2023-09-08T09:43:41Z</dcterms:modified>
</cp:coreProperties>
</file>